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8"/>
  </p:sldMasterIdLst>
  <p:notesMasterIdLst>
    <p:notesMasterId r:id="rId59"/>
  </p:notesMasterIdLst>
  <p:handoutMasterIdLst>
    <p:handoutMasterId r:id="rId60"/>
  </p:handoutMasterIdLst>
  <p:sldIdLst>
    <p:sldId id="402" r:id="rId49"/>
    <p:sldId id="416" r:id="rId50"/>
    <p:sldId id="417" r:id="rId51"/>
    <p:sldId id="411" r:id="rId52"/>
    <p:sldId id="398" r:id="rId53"/>
    <p:sldId id="407" r:id="rId54"/>
    <p:sldId id="414" r:id="rId55"/>
    <p:sldId id="415" r:id="rId56"/>
    <p:sldId id="403" r:id="rId57"/>
    <p:sldId id="413" r:id="rId58"/>
  </p:sldIdLst>
  <p:sldSz cx="12192000" cy="6858000"/>
  <p:notesSz cx="6797675" cy="9872663"/>
  <p:custDataLst>
    <p:tags r:id="rId61"/>
  </p:custDataLst>
  <p:defaultTextStyle>
    <a:defPPr>
      <a:defRPr lang="en-GB"/>
    </a:defPPr>
    <a:lvl1pPr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6B43"/>
    <a:srgbClr val="003A63"/>
    <a:srgbClr val="B3E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2A987F-6AE4-415F-8666-99DCBCD06820}" v="1" dt="2024-01-17T18:39:31.3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581" autoAdjust="0"/>
  </p:normalViewPr>
  <p:slideViewPr>
    <p:cSldViewPr snapToObjects="1">
      <p:cViewPr varScale="1">
        <p:scale>
          <a:sx n="86" d="100"/>
          <a:sy n="86" d="100"/>
        </p:scale>
        <p:origin x="25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83" d="100"/>
          <a:sy n="83" d="100"/>
        </p:scale>
        <p:origin x="3792" y="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50" Type="http://schemas.openxmlformats.org/officeDocument/2006/relationships/slide" Target="slides/slide2.xml"/><Relationship Id="rId55" Type="http://schemas.openxmlformats.org/officeDocument/2006/relationships/slide" Target="slides/slide7.xml"/><Relationship Id="rId63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" Target="slides/slide5.xml"/><Relationship Id="rId58" Type="http://schemas.openxmlformats.org/officeDocument/2006/relationships/slide" Target="slides/slide10.xml"/><Relationship Id="rId66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61" Type="http://schemas.openxmlformats.org/officeDocument/2006/relationships/tags" Target="tags/tag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slideMaster" Target="slideMasters/slideMaster1.xml"/><Relationship Id="rId56" Type="http://schemas.openxmlformats.org/officeDocument/2006/relationships/slide" Target="slides/slide8.xml"/><Relationship Id="rId64" Type="http://schemas.openxmlformats.org/officeDocument/2006/relationships/theme" Target="theme/theme1.xml"/><Relationship Id="rId8" Type="http://schemas.openxmlformats.org/officeDocument/2006/relationships/customXml" Target="../customXml/item8.xml"/><Relationship Id="rId51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notesMaster" Target="notesMasters/notesMaster1.xml"/><Relationship Id="rId67" Type="http://schemas.microsoft.com/office/2015/10/relationships/revisionInfo" Target="revisionInfo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" Target="slides/slide6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1.xml"/><Relationship Id="rId57" Type="http://schemas.openxmlformats.org/officeDocument/2006/relationships/slide" Target="slides/slide9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" Target="slides/slide4.xml"/><Relationship Id="rId60" Type="http://schemas.openxmlformats.org/officeDocument/2006/relationships/handoutMaster" Target="handoutMasters/handoutMaster1.xml"/><Relationship Id="rId65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LLEGO GALAN Sandra (REFORM)" userId="9841a2bd-6450-43e5-b107-1f7e6fa41194" providerId="ADAL" clId="{B62A987F-6AE4-415F-8666-99DCBCD06820}"/>
    <pc:docChg chg="modNotesMaster modHandout">
      <pc:chgData name="GALLEGO GALAN Sandra (REFORM)" userId="9841a2bd-6450-43e5-b107-1f7e6fa41194" providerId="ADAL" clId="{B62A987F-6AE4-415F-8666-99DCBCD06820}" dt="2024-01-17T18:39:31.328" v="0"/>
      <pc:docMkLst>
        <pc:docMk/>
      </pc:docMkLst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259626BC-3014-47B2-ABB5-277382126D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9749" y="9348862"/>
            <a:ext cx="1524931" cy="1473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7 January 2024</a:t>
            </a:fld>
            <a:endParaRPr lang="en-GB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8BB79479-4803-48E4-BCA9-BBA7EC166C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9749" y="9173477"/>
            <a:ext cx="1524931" cy="1473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D1A99EC3-4551-41A3-93A3-E76F910E7F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502996" y="9348862"/>
            <a:ext cx="4125482" cy="1473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Header Placeholder 12">
            <a:extLst>
              <a:ext uri="{FF2B5EF4-FFF2-40B4-BE49-F238E27FC236}">
                <a16:creationId xmlns:a16="http://schemas.microsoft.com/office/drawing/2014/main" id="{E835199C-5B05-418A-99B3-384C353F2AE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02996" y="9173477"/>
            <a:ext cx="4125482" cy="1473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70481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7950" y="741363"/>
            <a:ext cx="6581775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38631" y="4689017"/>
            <a:ext cx="6120414" cy="444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232" tIns="47615" rIns="95232" bIns="476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F4548538-D6FB-49A2-8D0E-7DD154B50D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95400" y="9479768"/>
            <a:ext cx="1663646" cy="1473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7 January 2024</a:t>
            </a:fld>
            <a:endParaRPr lang="en-GB" sz="800" dirty="0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EDC8800B-1BAA-4993-9AC8-2CA458C16E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95400" y="9304383"/>
            <a:ext cx="1663646" cy="1473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0" name="Footer Placeholder 10">
            <a:extLst>
              <a:ext uri="{FF2B5EF4-FFF2-40B4-BE49-F238E27FC236}">
                <a16:creationId xmlns:a16="http://schemas.microsoft.com/office/drawing/2014/main" id="{42BBC979-FFC8-43E2-8DDE-D425B63AFE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38631" y="9479768"/>
            <a:ext cx="4214254" cy="1473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11" name="Header Placeholder 12">
            <a:extLst>
              <a:ext uri="{FF2B5EF4-FFF2-40B4-BE49-F238E27FC236}">
                <a16:creationId xmlns:a16="http://schemas.microsoft.com/office/drawing/2014/main" id="{6BAB6F26-F351-4F54-BB01-EA0254B418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38631" y="9304383"/>
            <a:ext cx="4214254" cy="1473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65097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24680" y="0"/>
            <a:ext cx="12216680" cy="6858000"/>
          </a:xfrm>
          <a:noFill/>
        </p:spPr>
        <p:txBody>
          <a:bodyPr lIns="72000" tIns="72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en-GB" noProof="1"/>
              <a:t>Klik på rammen for at indsætte billede via Templafy og Images</a:t>
            </a:r>
            <a:endParaRPr lang="en-GB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4437111"/>
            <a:ext cx="11830050" cy="2239913"/>
          </a:xfrm>
          <a:solidFill>
            <a:schemeClr val="bg1">
              <a:alpha val="80000"/>
            </a:schemeClr>
          </a:solidFill>
        </p:spPr>
        <p:txBody>
          <a:bodyPr lIns="522000" bIns="252000" anchor="b" anchorCtr="0"/>
          <a:lstStyle>
            <a:lvl1pPr marL="0" indent="0">
              <a:buNone/>
              <a:defRPr sz="1400" b="0">
                <a:solidFill>
                  <a:srgbClr val="031D5C"/>
                </a:solidFill>
              </a:defRPr>
            </a:lvl1pPr>
          </a:lstStyle>
          <a:p>
            <a:pPr lvl="0"/>
            <a:r>
              <a:rPr lang="en-GB" noProof="0" dirty="0"/>
              <a:t>Måned og år</a:t>
            </a:r>
            <a:endParaRPr lang="en-GB"/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5" y="4699978"/>
            <a:ext cx="6690469" cy="1213460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rgbClr val="031D5C"/>
                </a:solidFill>
              </a:defRPr>
            </a:lvl1pPr>
          </a:lstStyle>
          <a:p>
            <a:r>
              <a:rPr lang="en-GB" dirty="0"/>
              <a:t>Indsæt titel</a:t>
            </a:r>
            <a:endParaRPr lang="en-GB"/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701675" y="6915108"/>
            <a:ext cx="2514005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en-GB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 </a:t>
            </a: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r>
              <a:rPr lang="en-GB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21</a:t>
            </a:r>
            <a:endParaRPr lang="en-GB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pic>
        <p:nvPicPr>
          <p:cNvPr id="2090381530" name="Logo" descr="{&quot;templafy&quot;:{&quot;id&quot;:&quot;831b238e-1b6b-48bb-8212-b981859b081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1074" y="5888998"/>
            <a:ext cx="2725200" cy="7056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  <a:p>
            <a:pPr lvl="5"/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Andet Niveau</a:t>
            </a:r>
            <a:endParaRPr lang="en-GB"/>
          </a:p>
          <a:p>
            <a:pPr lvl="2"/>
            <a:r>
              <a:rPr lang="en-GB" noProof="0" dirty="0"/>
              <a:t>Tredje Niveau</a:t>
            </a:r>
            <a:endParaRPr lang="en-GB"/>
          </a:p>
          <a:p>
            <a:pPr lvl="3"/>
            <a:r>
              <a:rPr lang="en-GB" noProof="0" dirty="0"/>
              <a:t>Fjerde Niveau</a:t>
            </a:r>
            <a:endParaRPr lang="en-GB"/>
          </a:p>
          <a:p>
            <a:pPr lvl="4"/>
            <a:r>
              <a:rPr lang="en-GB" noProof="0" dirty="0"/>
              <a:t>Femte Niveau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140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1" userDrawn="1">
          <p15:clr>
            <a:srgbClr val="A4A3A4"/>
          </p15:clr>
        </p15:guide>
        <p15:guide id="2" pos="2825" userDrawn="1">
          <p15:clr>
            <a:srgbClr val="A4A3A4"/>
          </p15:clr>
        </p15:guide>
        <p15:guide id="3" pos="4855" userDrawn="1">
          <p15:clr>
            <a:srgbClr val="A4A3A4"/>
          </p15:clr>
        </p15:guide>
        <p15:guide id="4" pos="5208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  <a:p>
            <a:pPr lvl="5"/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Andet Niveau</a:t>
            </a:r>
            <a:endParaRPr lang="en-GB"/>
          </a:p>
          <a:p>
            <a:pPr lvl="2"/>
            <a:r>
              <a:rPr lang="en-GB" noProof="0" dirty="0"/>
              <a:t>Tredje Niveau</a:t>
            </a:r>
            <a:endParaRPr lang="en-GB"/>
          </a:p>
          <a:p>
            <a:pPr lvl="3"/>
            <a:r>
              <a:rPr lang="en-GB" noProof="0" dirty="0"/>
              <a:t>Fjerde Niveau</a:t>
            </a:r>
            <a:endParaRPr lang="en-GB"/>
          </a:p>
          <a:p>
            <a:pPr lvl="4"/>
            <a:r>
              <a:rPr lang="en-GB" noProof="0" dirty="0"/>
              <a:t>Femte Niveau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Andet Niveau</a:t>
            </a:r>
            <a:endParaRPr lang="en-GB"/>
          </a:p>
          <a:p>
            <a:pPr lvl="2"/>
            <a:r>
              <a:rPr lang="en-GB" noProof="0" dirty="0"/>
              <a:t>Tredje Niveau</a:t>
            </a:r>
            <a:endParaRPr lang="en-GB"/>
          </a:p>
          <a:p>
            <a:pPr lvl="3"/>
            <a:r>
              <a:rPr lang="en-GB" noProof="0" dirty="0"/>
              <a:t>Fjerde Niveau</a:t>
            </a:r>
            <a:endParaRPr lang="en-GB"/>
          </a:p>
          <a:p>
            <a:pPr lvl="4"/>
            <a:r>
              <a:rPr lang="en-GB" noProof="0" dirty="0"/>
              <a:t>Femte Niveau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9753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70" userDrawn="1">
          <p15:clr>
            <a:srgbClr val="A4A3A4"/>
          </p15:clr>
        </p15:guide>
        <p15:guide id="6" pos="2197" userDrawn="1">
          <p15:clr>
            <a:srgbClr val="A4A3A4"/>
          </p15:clr>
        </p15:guide>
        <p15:guide id="7" pos="3725" userDrawn="1">
          <p15:clr>
            <a:srgbClr val="A4A3A4"/>
          </p15:clr>
        </p15:guide>
        <p15:guide id="8" pos="3952" userDrawn="1">
          <p15:clr>
            <a:srgbClr val="A4A3A4"/>
          </p15:clr>
        </p15:guide>
        <p15:guide id="9" pos="5481" userDrawn="1">
          <p15:clr>
            <a:srgbClr val="A4A3A4"/>
          </p15:clr>
        </p15:guide>
        <p15:guide id="10" pos="5707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2610000"/>
            <a:ext cx="3221038" cy="3303438"/>
          </a:xfr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5"/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2610000"/>
            <a:ext cx="3220050" cy="3303438"/>
          </a:xfr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2pPr>
            <a:lvl3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2610000"/>
            <a:ext cx="3220050" cy="3303438"/>
          </a:xfr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2pPr>
            <a:lvl3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Andet Niveau</a:t>
            </a:r>
            <a:endParaRPr lang="en-GB"/>
          </a:p>
          <a:p>
            <a:pPr lvl="2"/>
            <a:endParaRPr lang="en-GB" noProof="0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7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51B095-CF3A-4076-8D44-FE95CEE5E9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4195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GB" dirty="0"/>
              <a:t>Placer ikon her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F58AB7D-54E3-4084-923C-FE749FEF63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9289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GB" dirty="0"/>
              <a:t>Placer ikon her</a:t>
            </a:r>
            <a:endParaRPr lang="en-GB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524BF0B-8CEC-4E44-8742-E707B0EF31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9607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GB" dirty="0"/>
              <a:t>Placer ikon h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125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  <p15:guide id="5" orient="horz" pos="1510">
          <p15:clr>
            <a:srgbClr val="A4A3A4"/>
          </p15:clr>
        </p15:guide>
        <p15:guide id="6" pos="1161">
          <p15:clr>
            <a:srgbClr val="A4A3A4"/>
          </p15:clr>
        </p15:guide>
        <p15:guide id="7" pos="1750">
          <p15:clr>
            <a:srgbClr val="A4A3A4"/>
          </p15:clr>
        </p15:guide>
        <p15:guide id="8" pos="3544">
          <p15:clr>
            <a:srgbClr val="A4A3A4"/>
          </p15:clr>
        </p15:guide>
        <p15:guide id="9" pos="4134">
          <p15:clr>
            <a:srgbClr val="A4A3A4"/>
          </p15:clr>
        </p15:guide>
        <p15:guide id="10" pos="5925">
          <p15:clr>
            <a:srgbClr val="A4A3A4"/>
          </p15:clr>
        </p15:guide>
        <p15:guide id="11" pos="6515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Klik her for at tilføje underoverskrif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Klik her for at tilføje underoverskrif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GB" noProof="0" dirty="0"/>
              <a:t>Klik for at tilføje underoverskrift</a:t>
            </a:r>
            <a:endParaRPr lang="en-GB"/>
          </a:p>
          <a:p>
            <a:pPr lvl="1"/>
            <a:r>
              <a:rPr lang="en-GB" noProof="0" dirty="0"/>
              <a:t>Andet niveau</a:t>
            </a:r>
            <a:endParaRPr lang="en-GB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GB" noProof="0" dirty="0"/>
              <a:t>Klik for at tilføje underoverskrift</a:t>
            </a:r>
            <a:endParaRPr lang="en-GB"/>
          </a:p>
          <a:p>
            <a:pPr lvl="1"/>
            <a:r>
              <a:rPr lang="en-GB" noProof="0" dirty="0"/>
              <a:t>Andet niveau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GB" dirty="0"/>
              <a:t>Placer ikon her</a:t>
            </a:r>
            <a:endParaRPr lang="en-GB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GB" dirty="0"/>
              <a:t>Placer ikon her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GB" dirty="0"/>
              <a:t>Placer ikon her</a:t>
            </a:r>
            <a:endParaRPr lang="en-GB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GB" dirty="0"/>
              <a:t>Placer ikon h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232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70" userDrawn="1">
          <p15:clr>
            <a:srgbClr val="A4A3A4"/>
          </p15:clr>
        </p15:guide>
        <p15:guide id="6" pos="2197" userDrawn="1">
          <p15:clr>
            <a:srgbClr val="A4A3A4"/>
          </p15:clr>
        </p15:guide>
        <p15:guide id="7" pos="3725" userDrawn="1">
          <p15:clr>
            <a:srgbClr val="A4A3A4"/>
          </p15:clr>
        </p15:guide>
        <p15:guide id="8" pos="3952" userDrawn="1">
          <p15:clr>
            <a:srgbClr val="A4A3A4"/>
          </p15:clr>
        </p15:guide>
        <p15:guide id="9" pos="5481" userDrawn="1">
          <p15:clr>
            <a:srgbClr val="A4A3A4"/>
          </p15:clr>
        </p15:guide>
        <p15:guide id="10" pos="5707" userDrawn="1">
          <p15:clr>
            <a:srgbClr val="A4A3A4"/>
          </p15:clr>
        </p15:guide>
        <p15:guide id="11" pos="1031" userDrawn="1">
          <p15:clr>
            <a:srgbClr val="A4A3A4"/>
          </p15:clr>
        </p15:guide>
        <p15:guide id="12" orient="horz" pos="1508" userDrawn="1">
          <p15:clr>
            <a:srgbClr val="A4A3A4"/>
          </p15:clr>
        </p15:guide>
        <p15:guide id="13" orient="horz" pos="2240" userDrawn="1">
          <p15:clr>
            <a:srgbClr val="A4A3A4"/>
          </p15:clr>
        </p15:guide>
        <p15:guide id="14" orient="horz" pos="1650" userDrawn="1">
          <p15:clr>
            <a:srgbClr val="A4A3A4"/>
          </p15:clr>
        </p15:guide>
        <p15:guide id="15" orient="horz" pos="2392" userDrawn="1">
          <p15:clr>
            <a:srgbClr val="A4A3A4"/>
          </p15:clr>
        </p15:guide>
        <p15:guide id="16" orient="horz" pos="2982" userDrawn="1">
          <p15:clr>
            <a:srgbClr val="A4A3A4"/>
          </p15:clr>
        </p15:guide>
        <p15:guide id="17" orient="horz" pos="4320" userDrawn="1">
          <p15:clr>
            <a:srgbClr val="A4A3A4"/>
          </p15:clr>
        </p15:guide>
        <p15:guide id="18" orient="horz" pos="3133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GB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01675" y="1357273"/>
            <a:ext cx="10785475" cy="4566398"/>
          </a:xfrm>
        </p:spPr>
        <p:txBody>
          <a:bodyPr rIns="0"/>
          <a:lstStyle>
            <a:lvl1pPr algn="ctr">
              <a:lnSpc>
                <a:spcPct val="88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Klik her for at tilføje tekst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8311305" name="image" descr="{&quot;templafy&quot;:{&quot;id&quot;:&quot;8ab15afa-f18c-4407-be24-8b2dc5445cf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59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lIns="72000" tIns="36000" rIns="47268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en-GB" noProof="1"/>
              <a:t>Klik på rammen for at indsætte billede via Templafy og Images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30A091-D2A2-437A-86F2-B1116C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8000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Klik for at tilføje titel</a:t>
            </a:r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 bwMode="white">
          <a:xfrm>
            <a:off x="7550034" y="1450800"/>
            <a:ext cx="3941166" cy="3780000"/>
          </a:xfrm>
        </p:spPr>
        <p:txBody>
          <a:bodyPr rIns="144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  <a:p>
            <a:pPr lvl="6"/>
            <a:r>
              <a:rPr lang="en-GB" dirty="0"/>
              <a:t>7</a:t>
            </a:r>
            <a:endParaRPr lang="en-GB"/>
          </a:p>
          <a:p>
            <a:pPr lvl="7"/>
            <a:r>
              <a:rPr lang="en-GB" dirty="0"/>
              <a:t>8</a:t>
            </a:r>
            <a:endParaRPr lang="en-GB"/>
          </a:p>
          <a:p>
            <a:pPr lvl="8"/>
            <a:r>
              <a:rPr lang="en-GB" dirty="0"/>
              <a:t>9</a:t>
            </a:r>
            <a:endParaRPr lang="en-GB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B61A52D-8590-43B2-9F10-300CF644B6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400800"/>
            <a:ext cx="3794400" cy="27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7B82154A-6A4A-4F95-8844-A5A220EDA9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702000" y="6400800"/>
            <a:ext cx="280800" cy="254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03989763" name="Logo" descr="{&quot;templafy&quot;:{&quot;id&quot;:&quot;4f41c3ab-bb58-4fcd-953a-ba6818d070d9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9" name="AutoShape 4">
            <a:extLst>
              <a:ext uri="{FF2B5EF4-FFF2-40B4-BE49-F238E27FC236}">
                <a16:creationId xmlns:a16="http://schemas.microsoft.com/office/drawing/2014/main" id="{8E9F2879-9B5A-4058-B154-E03170C6CED0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en-GB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3566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587" userDrawn="1">
          <p15:clr>
            <a:srgbClr val="A4A3A4"/>
          </p15:clr>
        </p15:guide>
        <p15:guide id="2" pos="4755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lIns="72000" tIns="36000" rIns="72000"/>
          <a:lstStyle>
            <a:lvl1pPr marL="0" indent="0" algn="ctr">
              <a:buNone/>
              <a:defRPr sz="1400"/>
            </a:lvl1pPr>
          </a:lstStyle>
          <a:p>
            <a:r>
              <a:rPr lang="en-GB" noProof="1"/>
              <a:t>Klik på rammen for at indsætte billede via Templafy og Images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2750"/>
            <a:ext cx="10785475" cy="1027150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 algn="l">
              <a:lnSpc>
                <a:spcPct val="96000"/>
              </a:lnSpc>
              <a:spcBef>
                <a:spcPts val="0"/>
              </a:spcBef>
              <a:buNone/>
              <a:defRPr sz="4000" b="0">
                <a:solidFill>
                  <a:srgbClr val="031D5C"/>
                </a:solidFill>
                <a:latin typeface="+mj-lt"/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GB" dirty="0"/>
              <a:t>Klik her for at tilføje tekst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400800"/>
            <a:ext cx="280800" cy="254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98302459" name="Logo" descr="{&quot;templafy&quot;:{&quot;id&quot;:&quot;9f4a2542-2f14-418a-ba4c-9689861847e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1" name="AutoShape 4">
            <a:extLst>
              <a:ext uri="{FF2B5EF4-FFF2-40B4-BE49-F238E27FC236}">
                <a16:creationId xmlns:a16="http://schemas.microsoft.com/office/drawing/2014/main" id="{743BB1CB-D07E-4306-A02E-E60C03604D7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en-GB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54292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32DAD9-61A5-4644-911A-CD4E35B30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60EBFC-9F9A-4DB5-9FA4-FE26576D8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13AFC6-9F5F-4A43-A002-F25D24167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49542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ED5F2DD1-FF2E-4A6A-A9E9-8BE1BCFC17F4}" type="datetime1">
              <a:rPr lang="en-GB" smtClean="0"/>
              <a:pPr/>
              <a:t>17/01/202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7177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lIns="72000" tIns="36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en-GB" noProof="1"/>
              <a:t>Klik på rammen for at indsætte billede via Templafy og Images</a:t>
            </a:r>
            <a:endParaRPr lang="en-GB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kriv kontaktdata</a:t>
            </a:r>
            <a:endParaRPr lang="en-GB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36319671" name="Logo" descr="{&quot;templafy&quot;:{&quot;id&quot;:&quot;02a12895-1b45-4e8e-937c-c10e2a22f211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1074" y="5895894"/>
            <a:ext cx="2725200" cy="705600"/>
          </a:xfrm>
          <a:prstGeom prst="rect">
            <a:avLst/>
          </a:prstGeom>
        </p:spPr>
      </p:pic>
      <p:sp>
        <p:nvSpPr>
          <p:cNvPr id="9" name="AutoShape 4">
            <a:extLst>
              <a:ext uri="{FF2B5EF4-FFF2-40B4-BE49-F238E27FC236}">
                <a16:creationId xmlns:a16="http://schemas.microsoft.com/office/drawing/2014/main" id="{B3CC375C-A6A8-4D1F-9065-67771B3085EF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en-GB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640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57707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GB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</p:spPr>
        <p:txBody>
          <a:bodyPr rIns="144000"/>
          <a:lstStyle>
            <a:lvl1pPr marL="216000" indent="-216000">
              <a:lnSpc>
                <a:spcPct val="150000"/>
              </a:lnSpc>
              <a:spcBef>
                <a:spcPts val="0"/>
              </a:spcBef>
              <a:buClrTx/>
              <a:buFont typeface="Symbol" panose="05050102010706020507" pitchFamily="18" charset="2"/>
              <a:buChar char="·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4536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Indsæt emne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  <a:p>
            <a:pPr lvl="5"/>
            <a:r>
              <a:rPr lang="en-GB" dirty="0"/>
              <a:t>6</a:t>
            </a:r>
            <a:endParaRPr lang="en-GB"/>
          </a:p>
          <a:p>
            <a:pPr lvl="6"/>
            <a:r>
              <a:rPr lang="en-GB" dirty="0"/>
              <a:t>7</a:t>
            </a:r>
            <a:endParaRPr lang="en-GB"/>
          </a:p>
          <a:p>
            <a:pPr lvl="7"/>
            <a:r>
              <a:rPr lang="en-GB" dirty="0"/>
              <a:t>8</a:t>
            </a:r>
            <a:endParaRPr lang="en-GB"/>
          </a:p>
          <a:p>
            <a:pPr lvl="8"/>
            <a:r>
              <a:rPr lang="en-GB" dirty="0"/>
              <a:t>9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6EA4E9-57E4-4E45-B1F1-CDAC528B67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2A6E8D-28F1-48A8-BE57-479D44D8E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B41A0A-2FD5-4406-BE18-69A2C9C452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070043291" name="image" descr="{&quot;templafy&quot;:{&quot;id&quot;:&quot;b81e12d8-d04e-4b35-903e-3fa0c9b9b62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0356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Hvis du ser andre </a:t>
            </a:r>
            <a:r>
              <a:rPr lang="en-GB" sz="4400" b="1" i="1" noProof="0" dirty="0">
                <a:solidFill>
                  <a:schemeClr val="bg1"/>
                </a:solidFill>
              </a:rPr>
              <a:t>layouts efter dette,</a:t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en-GB" sz="4400" b="0" i="0" u="none" noProof="0" dirty="0">
                <a:solidFill>
                  <a:schemeClr val="bg1"/>
                </a:solidFill>
              </a:rPr>
              <a:t>vores </a:t>
            </a:r>
            <a:r>
              <a:rPr lang="en-GB" sz="4400" b="0" i="0" u="none" noProof="1">
                <a:solidFill>
                  <a:schemeClr val="bg1"/>
                </a:solidFill>
              </a:rPr>
              <a:t>corporate</a:t>
            </a:r>
            <a:r>
              <a:rPr lang="en-GB" sz="4400" b="0" noProof="0" dirty="0">
                <a:solidFill>
                  <a:schemeClr val="bg1"/>
                </a:solidFill>
              </a:rPr>
              <a:t>skabelon.</a:t>
            </a:r>
            <a:br>
              <a:rPr lang="da-DK" sz="2800" b="0" noProof="0" dirty="0">
                <a:solidFill>
                  <a:schemeClr val="bg1"/>
                </a:solidFill>
              </a:rPr>
            </a:br>
            <a:br>
              <a:rPr lang="da-DK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0" b="1" i="1" noProof="0" dirty="0">
                <a:solidFill>
                  <a:schemeClr val="bg1"/>
                </a:solidFill>
              </a:rPr>
              <a:t>Brug dem ikke </a:t>
            </a:r>
            <a:endParaRPr lang="en-GB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  <a:endParaRPr lang="en-GB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B375CC-2CFD-45EE-817E-F4267FCEFCDF}" type="datetime2">
              <a:rPr lang="en-GB" smtClean="0"/>
              <a:t>Wednesday, 17 January 2024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5152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DBD9D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GB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</p:spPr>
        <p:txBody>
          <a:bodyPr rIns="144000"/>
          <a:lstStyle>
            <a:lvl1pPr marL="216000" indent="-216000">
              <a:lnSpc>
                <a:spcPct val="150000"/>
              </a:lnSpc>
              <a:spcBef>
                <a:spcPts val="0"/>
              </a:spcBef>
              <a:buClrTx/>
              <a:buFont typeface="Symbol" panose="05050102010706020507" pitchFamily="18" charset="2"/>
              <a:buChar char="·"/>
              <a:tabLst>
                <a:tab pos="892175" algn="l"/>
              </a:tabLst>
              <a:defRPr sz="1800">
                <a:solidFill>
                  <a:schemeClr val="tx1"/>
                </a:solidFill>
              </a:defRPr>
            </a:lvl1pPr>
            <a:lvl2pPr marL="4536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2pPr>
            <a:lvl3pPr marL="684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3pPr>
            <a:lvl4pPr marL="684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4pPr>
            <a:lvl5pPr marL="684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5pPr>
            <a:lvl6pPr marL="684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6pPr>
            <a:lvl7pPr marL="684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7pPr>
            <a:lvl8pPr marL="684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8pPr>
            <a:lvl9pPr marL="684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Indsæt emne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  <a:p>
            <a:pPr lvl="5"/>
            <a:r>
              <a:rPr lang="en-GB" dirty="0"/>
              <a:t>6</a:t>
            </a:r>
            <a:endParaRPr lang="en-GB"/>
          </a:p>
          <a:p>
            <a:pPr lvl="6"/>
            <a:r>
              <a:rPr lang="en-GB" dirty="0"/>
              <a:t>7</a:t>
            </a:r>
            <a:endParaRPr lang="en-GB"/>
          </a:p>
          <a:p>
            <a:pPr lvl="7"/>
            <a:r>
              <a:rPr lang="en-GB" dirty="0"/>
              <a:t>8</a:t>
            </a:r>
            <a:endParaRPr lang="en-GB"/>
          </a:p>
          <a:p>
            <a:pPr lvl="8"/>
            <a:r>
              <a:rPr lang="en-GB" dirty="0"/>
              <a:t>9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6EA4E9-57E4-4E45-B1F1-CDAC528B67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2A6E8D-28F1-48A8-BE57-479D44D8E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B41A0A-2FD5-4406-BE18-69A2C9C452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pic>
        <p:nvPicPr>
          <p:cNvPr id="1866554103" name="image" descr="{&quot;templafy&quot;:{&quot;id&quot;:&quot;1bc1a501-0a8a-467a-a9f6-0198ab0b4039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946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3B5463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en-GB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</p:spPr>
        <p:txBody>
          <a:bodyPr rIns="144000"/>
          <a:lstStyle>
            <a:lvl1pPr marL="216000" indent="-216000">
              <a:lnSpc>
                <a:spcPct val="150000"/>
              </a:lnSpc>
              <a:spcBef>
                <a:spcPts val="0"/>
              </a:spcBef>
              <a:buClrTx/>
              <a:buFont typeface="Symbol" panose="05050102010706020507" pitchFamily="18" charset="2"/>
              <a:buChar char="·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4536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684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Indsæt emne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  <a:p>
            <a:pPr lvl="5"/>
            <a:r>
              <a:rPr lang="en-GB" dirty="0"/>
              <a:t>6</a:t>
            </a:r>
            <a:endParaRPr lang="en-GB"/>
          </a:p>
          <a:p>
            <a:pPr lvl="6"/>
            <a:r>
              <a:rPr lang="en-GB" dirty="0"/>
              <a:t>7</a:t>
            </a:r>
            <a:endParaRPr lang="en-GB"/>
          </a:p>
          <a:p>
            <a:pPr lvl="7"/>
            <a:r>
              <a:rPr lang="en-GB" dirty="0"/>
              <a:t>8</a:t>
            </a:r>
            <a:endParaRPr lang="en-GB"/>
          </a:p>
          <a:p>
            <a:pPr lvl="8"/>
            <a:r>
              <a:rPr lang="en-GB" dirty="0"/>
              <a:t>9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6EA4E9-57E4-4E45-B1F1-CDAC528B67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2A6E8D-28F1-48A8-BE57-479D44D8E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B41A0A-2FD5-4406-BE18-69A2C9C452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40012516" name="image" descr="{&quot;templafy&quot;:{&quot;id&quot;:&quot;79cb5b1a-081b-44b4-95fc-d0a7baad71c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7802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/>
            </a:lvl1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3099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6688" y="179387"/>
            <a:ext cx="2952750" cy="6497638"/>
          </a:xfr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Klik på rammen for at indsætte billede via Templafy og Images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070532-2CAF-4ECE-8777-C9646D0AD00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019C8C-050F-4CAB-9F7B-25C88EA7DB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B8A3C3-55D0-476C-BD2C-EC8140DC3E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36170534" name="Logo" descr="{&quot;templafy&quot;:{&quot;id&quot;:&quot;607bc982-10f0-4034-8b44-fbeb6119861b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4" name="AutoShape 4">
            <a:extLst>
              <a:ext uri="{FF2B5EF4-FFF2-40B4-BE49-F238E27FC236}">
                <a16:creationId xmlns:a16="http://schemas.microsoft.com/office/drawing/2014/main" id="{BA604413-7CCC-4FA6-A273-C7717311D0A8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en-GB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9299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05" userDrawn="1">
          <p15:clr>
            <a:srgbClr val="A4A3A4"/>
          </p15:clr>
        </p15:guide>
        <p15:guide id="2" pos="5528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en-GB" noProof="1"/>
              <a:t>Klik på rammen for at indsætte billede via Templafy og Images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D47456-165F-4A02-9FD6-9A0E1B9078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B898419-599F-4C22-957C-7F975B1D3A6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020E6C9-27A9-4DC7-87B7-A6BC4A4DA57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560226556" name="Logo" descr="{&quot;templafy&quot;:{&quot;id&quot;:&quot;dc983cd6-abad-46b3-af66-6a642ae192c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5" name="AutoShape 4">
            <a:extLst>
              <a:ext uri="{FF2B5EF4-FFF2-40B4-BE49-F238E27FC236}">
                <a16:creationId xmlns:a16="http://schemas.microsoft.com/office/drawing/2014/main" id="{6E0A83DE-F591-4D48-99C9-C41BC00857F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en-GB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en-GB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4418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5" userDrawn="1">
          <p15:clr>
            <a:srgbClr val="A4A3A4"/>
          </p15:clr>
        </p15:guide>
        <p15:guide id="2" pos="5081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51117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  <a:p>
            <a:pPr lvl="5"/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7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7865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2" userDrawn="1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pos="4016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  <a:p>
            <a:pPr lvl="5"/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Klik her for at tilføje tekst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Klik her for at tilføje titel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Andet Niveau</a:t>
            </a:r>
            <a:endParaRPr lang="en-GB"/>
          </a:p>
          <a:p>
            <a:pPr lvl="2"/>
            <a:r>
              <a:rPr lang="en-GB" noProof="0" dirty="0"/>
              <a:t>Tredje Niveau</a:t>
            </a:r>
            <a:endParaRPr lang="en-GB"/>
          </a:p>
          <a:p>
            <a:pPr lvl="3"/>
            <a:r>
              <a:rPr lang="en-GB" noProof="0" dirty="0"/>
              <a:t>Fjerde Niveau</a:t>
            </a:r>
            <a:endParaRPr lang="en-GB"/>
          </a:p>
          <a:p>
            <a:pPr lvl="4"/>
            <a:r>
              <a:rPr lang="en-GB" noProof="0" dirty="0"/>
              <a:t>Femte Niveau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700" dirty="0"/>
          </a:p>
        </p:txBody>
      </p:sp>
    </p:spTree>
    <p:extLst>
      <p:ext uri="{BB962C8B-B14F-4D97-AF65-F5344CB8AC3E}">
        <p14:creationId xmlns:p14="http://schemas.microsoft.com/office/powerpoint/2010/main" val="3460599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1" userDrawn="1">
          <p15:clr>
            <a:srgbClr val="A4A3A4"/>
          </p15:clr>
        </p15:guide>
        <p15:guide id="2" pos="2825" userDrawn="1">
          <p15:clr>
            <a:srgbClr val="A4A3A4"/>
          </p15:clr>
        </p15:guide>
        <p15:guide id="3" pos="4855" userDrawn="1">
          <p15:clr>
            <a:srgbClr val="A4A3A4"/>
          </p15:clr>
        </p15:guide>
        <p15:guide id="4" pos="5208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6902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83" imgH="384" progId="TCLayout.ActiveDocument.1">
                  <p:embed/>
                </p:oleObj>
              </mc:Choice>
              <mc:Fallback>
                <p:oleObj name="think-cell Slide" r:id="rId23" imgW="383" imgH="38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Klik for at redigere i master</a:t>
            </a:r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667" y="1449388"/>
            <a:ext cx="10784483" cy="446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Klik for at redigere i master</a:t>
            </a:r>
            <a:endParaRPr lang="en-GB"/>
          </a:p>
          <a:p>
            <a:pPr lvl="1"/>
            <a:r>
              <a:rPr lang="en-GB" dirty="0"/>
              <a:t>Andet niveau</a:t>
            </a:r>
            <a:endParaRPr lang="en-GB"/>
          </a:p>
          <a:p>
            <a:pPr lvl="2"/>
            <a:r>
              <a:rPr lang="en-GB" dirty="0"/>
              <a:t>Tredje niveau</a:t>
            </a:r>
            <a:endParaRPr lang="en-GB"/>
          </a:p>
          <a:p>
            <a:pPr lvl="3"/>
            <a:r>
              <a:rPr lang="en-GB" dirty="0"/>
              <a:t>Fjerde niveau</a:t>
            </a:r>
            <a:endParaRPr lang="en-GB"/>
          </a:p>
          <a:p>
            <a:pPr lvl="4"/>
            <a:r>
              <a:rPr lang="en-GB" dirty="0"/>
              <a:t>Femte niveau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  <a:p>
            <a:pPr lvl="6"/>
            <a:r>
              <a:rPr lang="en-GB" dirty="0"/>
              <a:t>7</a:t>
            </a:r>
            <a:endParaRPr lang="en-GB"/>
          </a:p>
          <a:p>
            <a:pPr lvl="7"/>
            <a:r>
              <a:rPr lang="en-GB" dirty="0"/>
              <a:t>8</a:t>
            </a:r>
            <a:endParaRPr lang="en-GB"/>
          </a:p>
          <a:p>
            <a:pPr lvl="8"/>
            <a:r>
              <a:rPr lang="en-GB" dirty="0"/>
              <a:t>9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D709F18B-C64D-467D-95E0-03999A31A181}" type="datetime1">
              <a:rPr lang="en-GB" smtClean="0"/>
              <a:t>17/01/2024</a:t>
            </a:fld>
            <a:endParaRPr lang="en-GB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29600" y="6401052"/>
            <a:ext cx="379440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en-GB" dirty="0"/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noFill/>
              </a:defRPr>
            </a:lvl1pPr>
          </a:lstStyle>
          <a:p>
            <a:fld id="{80AE25ED-097C-4BDC-A7CE-FA97BD9CA3B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91746178" name="image" descr="{&quot;templafy&quot;:{&quot;id&quot;:&quot;c5603a45-8eb4-4de8-ace3-56f8c361ff6d&quot;}}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47" r:id="rId2"/>
    <p:sldLayoutId id="2147483758" r:id="rId3"/>
    <p:sldLayoutId id="2147483754" r:id="rId4"/>
    <p:sldLayoutId id="2147483656" r:id="rId5"/>
    <p:sldLayoutId id="2147483738" r:id="rId6"/>
    <p:sldLayoutId id="2147483739" r:id="rId7"/>
    <p:sldLayoutId id="2147483658" r:id="rId8"/>
    <p:sldLayoutId id="2147483748" r:id="rId9"/>
    <p:sldLayoutId id="2147483750" r:id="rId10"/>
    <p:sldLayoutId id="2147483749" r:id="rId11"/>
    <p:sldLayoutId id="2147483759" r:id="rId12"/>
    <p:sldLayoutId id="2147483752" r:id="rId13"/>
    <p:sldLayoutId id="2147483720" r:id="rId14"/>
    <p:sldLayoutId id="2147483741" r:id="rId15"/>
    <p:sldLayoutId id="2147483740" r:id="rId16"/>
    <p:sldLayoutId id="2147483661" r:id="rId17"/>
    <p:sldLayoutId id="2147483727" r:id="rId18"/>
    <p:sldLayoutId id="2147483736" r:id="rId19"/>
    <p:sldLayoutId id="2147483746" r:id="rId20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rgbClr val="3B5463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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068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5pPr>
      <a:lvl6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6pPr>
      <a:lvl7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7pPr>
      <a:lvl8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8pPr>
      <a:lvl9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 userDrawn="1">
          <p15:clr>
            <a:srgbClr val="A4A3A4"/>
          </p15:clr>
        </p15:guide>
        <p15:guide id="2" pos="7236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  <p15:guide id="5" orient="horz" pos="3725" userDrawn="1">
          <p15:clr>
            <a:srgbClr val="A4A3A4"/>
          </p15:clr>
        </p15:guide>
        <p15:guide id="6" pos="113" userDrawn="1">
          <p15:clr>
            <a:srgbClr val="A4A3A4"/>
          </p15:clr>
        </p15:guide>
        <p15:guide id="7" orient="horz" pos="113" userDrawn="1">
          <p15:clr>
            <a:srgbClr val="A4A3A4"/>
          </p15:clr>
        </p15:guide>
        <p15:guide id="8" pos="7565" userDrawn="1">
          <p15:clr>
            <a:srgbClr val="A4A3A4"/>
          </p15:clr>
        </p15:guide>
        <p15:guide id="9" orient="horz" pos="4206" userDrawn="1">
          <p15:clr>
            <a:srgbClr val="A4A3A4"/>
          </p15:clr>
        </p15:guide>
        <p15:guide id="10" orient="horz" pos="2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image" Target="../media/image24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8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11" Type="http://schemas.openxmlformats.org/officeDocument/2006/relationships/image" Target="../media/image6.png"/><Relationship Id="rId5" Type="http://schemas.openxmlformats.org/officeDocument/2006/relationships/hyperlink" Target="mailto:markur@oes.dk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customXml" Target="../../customXml/item45.xml"/><Relationship Id="rId1" Type="http://schemas.openxmlformats.org/officeDocument/2006/relationships/customXml" Target="../../customXml/item44.x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0.xml"/><Relationship Id="rId9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customXml" Target="../../customXml/item47.xml"/><Relationship Id="rId1" Type="http://schemas.openxmlformats.org/officeDocument/2006/relationships/customXml" Target="../../customXml/item46.x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6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771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Placeholder 1"/>
          <p:cNvPicPr>
            <a:picLocks noGrp="1" noChangeAspect="1"/>
          </p:cNvPicPr>
          <p:nvPr>
            <p:ph type="pic" sz="quarter" idx="10"/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" t="336" r="-215" b="15459"/>
          <a:stretch/>
        </p:blipFill>
        <p:spPr>
          <a:xfrm>
            <a:off x="36719" y="-11623"/>
            <a:ext cx="13655252" cy="7665562"/>
          </a:xfrm>
        </p:spPr>
      </p:pic>
      <p:sp>
        <p:nvSpPr>
          <p:cNvPr id="54" name="Tekstfelt 53"/>
          <p:cNvSpPr txBox="1"/>
          <p:nvPr/>
        </p:nvSpPr>
        <p:spPr>
          <a:xfrm>
            <a:off x="-141779" y="963256"/>
            <a:ext cx="7749008" cy="8290600"/>
          </a:xfrm>
          <a:custGeom>
            <a:avLst/>
            <a:gdLst>
              <a:gd name="connsiteX0" fmla="*/ 4205685 w 7244952"/>
              <a:gd name="connsiteY0" fmla="*/ 3288111 h 8181528"/>
              <a:gd name="connsiteX1" fmla="*/ 4205685 w 7244952"/>
              <a:gd name="connsiteY1" fmla="*/ 3362227 h 8181528"/>
              <a:gd name="connsiteX2" fmla="*/ 4194969 w 7244952"/>
              <a:gd name="connsiteY2" fmla="*/ 3401071 h 8181528"/>
              <a:gd name="connsiteX3" fmla="*/ 4165948 w 7244952"/>
              <a:gd name="connsiteY3" fmla="*/ 3430316 h 8181528"/>
              <a:gd name="connsiteX4" fmla="*/ 4127104 w 7244952"/>
              <a:gd name="connsiteY4" fmla="*/ 3441255 h 8181528"/>
              <a:gd name="connsiteX5" fmla="*/ 4085134 w 7244952"/>
              <a:gd name="connsiteY5" fmla="*/ 3426744 h 8181528"/>
              <a:gd name="connsiteX6" fmla="*/ 4069954 w 7244952"/>
              <a:gd name="connsiteY6" fmla="*/ 3384551 h 8181528"/>
              <a:gd name="connsiteX7" fmla="*/ 4103217 w 7244952"/>
              <a:gd name="connsiteY7" fmla="*/ 3314007 h 8181528"/>
              <a:gd name="connsiteX8" fmla="*/ 4205685 w 7244952"/>
              <a:gd name="connsiteY8" fmla="*/ 3288111 h 8181528"/>
              <a:gd name="connsiteX9" fmla="*/ 5627738 w 7244952"/>
              <a:gd name="connsiteY9" fmla="*/ 3095229 h 8181528"/>
              <a:gd name="connsiteX10" fmla="*/ 5679530 w 7244952"/>
              <a:gd name="connsiteY10" fmla="*/ 3128716 h 8181528"/>
              <a:gd name="connsiteX11" fmla="*/ 5697389 w 7244952"/>
              <a:gd name="connsiteY11" fmla="*/ 3230514 h 8181528"/>
              <a:gd name="connsiteX12" fmla="*/ 5548710 w 7244952"/>
              <a:gd name="connsiteY12" fmla="*/ 3230514 h 8181528"/>
              <a:gd name="connsiteX13" fmla="*/ 5573044 w 7244952"/>
              <a:gd name="connsiteY13" fmla="*/ 3130055 h 8181528"/>
              <a:gd name="connsiteX14" fmla="*/ 5627738 w 7244952"/>
              <a:gd name="connsiteY14" fmla="*/ 3095229 h 8181528"/>
              <a:gd name="connsiteX15" fmla="*/ 2713088 w 7244952"/>
              <a:gd name="connsiteY15" fmla="*/ 3095229 h 8181528"/>
              <a:gd name="connsiteX16" fmla="*/ 2764880 w 7244952"/>
              <a:gd name="connsiteY16" fmla="*/ 3128716 h 8181528"/>
              <a:gd name="connsiteX17" fmla="*/ 2782739 w 7244952"/>
              <a:gd name="connsiteY17" fmla="*/ 3230514 h 8181528"/>
              <a:gd name="connsiteX18" fmla="*/ 2634060 w 7244952"/>
              <a:gd name="connsiteY18" fmla="*/ 3230514 h 8181528"/>
              <a:gd name="connsiteX19" fmla="*/ 2658394 w 7244952"/>
              <a:gd name="connsiteY19" fmla="*/ 3130055 h 8181528"/>
              <a:gd name="connsiteX20" fmla="*/ 2713088 w 7244952"/>
              <a:gd name="connsiteY20" fmla="*/ 3095229 h 8181528"/>
              <a:gd name="connsiteX21" fmla="*/ 1759101 w 7244952"/>
              <a:gd name="connsiteY21" fmla="*/ 3095229 h 8181528"/>
              <a:gd name="connsiteX22" fmla="*/ 1821832 w 7244952"/>
              <a:gd name="connsiteY22" fmla="*/ 3142780 h 8181528"/>
              <a:gd name="connsiteX23" fmla="*/ 1843040 w 7244952"/>
              <a:gd name="connsiteY23" fmla="*/ 3286325 h 8181528"/>
              <a:gd name="connsiteX24" fmla="*/ 1839021 w 7244952"/>
              <a:gd name="connsiteY24" fmla="*/ 3357985 h 8181528"/>
              <a:gd name="connsiteX25" fmla="*/ 1825404 w 7244952"/>
              <a:gd name="connsiteY25" fmla="*/ 3412680 h 8181528"/>
              <a:gd name="connsiteX26" fmla="*/ 1799954 w 7244952"/>
              <a:gd name="connsiteY26" fmla="*/ 3447505 h 8181528"/>
              <a:gd name="connsiteX27" fmla="*/ 1760440 w 7244952"/>
              <a:gd name="connsiteY27" fmla="*/ 3459561 h 8181528"/>
              <a:gd name="connsiteX28" fmla="*/ 1696370 w 7244952"/>
              <a:gd name="connsiteY28" fmla="*/ 3412456 h 8181528"/>
              <a:gd name="connsiteX29" fmla="*/ 1675161 w 7244952"/>
              <a:gd name="connsiteY29" fmla="*/ 3270698 h 8181528"/>
              <a:gd name="connsiteX30" fmla="*/ 1683645 w 7244952"/>
              <a:gd name="connsiteY30" fmla="*/ 3172025 h 8181528"/>
              <a:gd name="connsiteX31" fmla="*/ 1710434 w 7244952"/>
              <a:gd name="connsiteY31" fmla="*/ 3114428 h 8181528"/>
              <a:gd name="connsiteX32" fmla="*/ 1759101 w 7244952"/>
              <a:gd name="connsiteY32" fmla="*/ 3095229 h 8181528"/>
              <a:gd name="connsiteX33" fmla="*/ 2012106 w 7244952"/>
              <a:gd name="connsiteY33" fmla="*/ 3055938 h 8181528"/>
              <a:gd name="connsiteX34" fmla="*/ 2012106 w 7244952"/>
              <a:gd name="connsiteY34" fmla="*/ 3085406 h 8181528"/>
              <a:gd name="connsiteX35" fmla="*/ 2034654 w 7244952"/>
              <a:gd name="connsiteY35" fmla="*/ 3095005 h 8181528"/>
              <a:gd name="connsiteX36" fmla="*/ 2051397 w 7244952"/>
              <a:gd name="connsiteY36" fmla="*/ 3115097 h 8181528"/>
              <a:gd name="connsiteX37" fmla="*/ 2071042 w 7244952"/>
              <a:gd name="connsiteY37" fmla="*/ 3163540 h 8181528"/>
              <a:gd name="connsiteX38" fmla="*/ 2188914 w 7244952"/>
              <a:gd name="connsiteY38" fmla="*/ 3503315 h 8181528"/>
              <a:gd name="connsiteX39" fmla="*/ 2273300 w 7244952"/>
              <a:gd name="connsiteY39" fmla="*/ 3503315 h 8181528"/>
              <a:gd name="connsiteX40" fmla="*/ 2412603 w 7244952"/>
              <a:gd name="connsiteY40" fmla="*/ 3194794 h 8181528"/>
              <a:gd name="connsiteX41" fmla="*/ 2439392 w 7244952"/>
              <a:gd name="connsiteY41" fmla="*/ 3138760 h 8181528"/>
              <a:gd name="connsiteX42" fmla="*/ 2456135 w 7244952"/>
              <a:gd name="connsiteY42" fmla="*/ 3110855 h 8181528"/>
              <a:gd name="connsiteX43" fmla="*/ 2470869 w 7244952"/>
              <a:gd name="connsiteY43" fmla="*/ 3095675 h 8181528"/>
              <a:gd name="connsiteX44" fmla="*/ 2491631 w 7244952"/>
              <a:gd name="connsiteY44" fmla="*/ 3085852 h 8181528"/>
              <a:gd name="connsiteX45" fmla="*/ 2491631 w 7244952"/>
              <a:gd name="connsiteY45" fmla="*/ 3055938 h 8181528"/>
              <a:gd name="connsiteX46" fmla="*/ 2317948 w 7244952"/>
              <a:gd name="connsiteY46" fmla="*/ 3055938 h 8181528"/>
              <a:gd name="connsiteX47" fmla="*/ 2317948 w 7244952"/>
              <a:gd name="connsiteY47" fmla="*/ 3085406 h 8181528"/>
              <a:gd name="connsiteX48" fmla="*/ 2348309 w 7244952"/>
              <a:gd name="connsiteY48" fmla="*/ 3100809 h 8181528"/>
              <a:gd name="connsiteX49" fmla="*/ 2359025 w 7244952"/>
              <a:gd name="connsiteY49" fmla="*/ 3131840 h 8181528"/>
              <a:gd name="connsiteX50" fmla="*/ 2354560 w 7244952"/>
              <a:gd name="connsiteY50" fmla="*/ 3163764 h 8181528"/>
              <a:gd name="connsiteX51" fmla="*/ 2341165 w 7244952"/>
              <a:gd name="connsiteY51" fmla="*/ 3201492 h 8181528"/>
              <a:gd name="connsiteX52" fmla="*/ 2270174 w 7244952"/>
              <a:gd name="connsiteY52" fmla="*/ 3372495 h 8181528"/>
              <a:gd name="connsiteX53" fmla="*/ 2205881 w 7244952"/>
              <a:gd name="connsiteY53" fmla="*/ 3177381 h 8181528"/>
              <a:gd name="connsiteX54" fmla="*/ 2194272 w 7244952"/>
              <a:gd name="connsiteY54" fmla="*/ 3121571 h 8181528"/>
              <a:gd name="connsiteX55" fmla="*/ 2204095 w 7244952"/>
              <a:gd name="connsiteY55" fmla="*/ 3097461 h 8181528"/>
              <a:gd name="connsiteX56" fmla="*/ 2234902 w 7244952"/>
              <a:gd name="connsiteY56" fmla="*/ 3085406 h 8181528"/>
              <a:gd name="connsiteX57" fmla="*/ 2234902 w 7244952"/>
              <a:gd name="connsiteY57" fmla="*/ 3055938 h 8181528"/>
              <a:gd name="connsiteX58" fmla="*/ 5634881 w 7244952"/>
              <a:gd name="connsiteY58" fmla="*/ 3048794 h 8181528"/>
              <a:gd name="connsiteX59" fmla="*/ 5519688 w 7244952"/>
              <a:gd name="connsiteY59" fmla="*/ 3075806 h 8181528"/>
              <a:gd name="connsiteX60" fmla="*/ 5443116 w 7244952"/>
              <a:gd name="connsiteY60" fmla="*/ 3155280 h 8181528"/>
              <a:gd name="connsiteX61" fmla="*/ 5416103 w 7244952"/>
              <a:gd name="connsiteY61" fmla="*/ 3280073 h 8181528"/>
              <a:gd name="connsiteX62" fmla="*/ 5468565 w 7244952"/>
              <a:gd name="connsiteY62" fmla="*/ 3449067 h 8181528"/>
              <a:gd name="connsiteX63" fmla="*/ 5625058 w 7244952"/>
              <a:gd name="connsiteY63" fmla="*/ 3505994 h 8181528"/>
              <a:gd name="connsiteX64" fmla="*/ 5727749 w 7244952"/>
              <a:gd name="connsiteY64" fmla="*/ 3485902 h 8181528"/>
              <a:gd name="connsiteX65" fmla="*/ 5817939 w 7244952"/>
              <a:gd name="connsiteY65" fmla="*/ 3417590 h 8181528"/>
              <a:gd name="connsiteX66" fmla="*/ 5781774 w 7244952"/>
              <a:gd name="connsiteY66" fmla="*/ 3378299 h 8181528"/>
              <a:gd name="connsiteX67" fmla="*/ 5722838 w 7244952"/>
              <a:gd name="connsiteY67" fmla="*/ 3423171 h 8181528"/>
              <a:gd name="connsiteX68" fmla="*/ 5661670 w 7244952"/>
              <a:gd name="connsiteY68" fmla="*/ 3435896 h 8181528"/>
              <a:gd name="connsiteX69" fmla="*/ 5575275 w 7244952"/>
              <a:gd name="connsiteY69" fmla="*/ 3397721 h 8181528"/>
              <a:gd name="connsiteX70" fmla="*/ 5546477 w 7244952"/>
              <a:gd name="connsiteY70" fmla="*/ 3278733 h 8181528"/>
              <a:gd name="connsiteX71" fmla="*/ 5829548 w 7244952"/>
              <a:gd name="connsiteY71" fmla="*/ 3278733 h 8181528"/>
              <a:gd name="connsiteX72" fmla="*/ 5820172 w 7244952"/>
              <a:gd name="connsiteY72" fmla="*/ 3188990 h 8181528"/>
              <a:gd name="connsiteX73" fmla="*/ 5794722 w 7244952"/>
              <a:gd name="connsiteY73" fmla="*/ 3124696 h 8181528"/>
              <a:gd name="connsiteX74" fmla="*/ 5758557 w 7244952"/>
              <a:gd name="connsiteY74" fmla="*/ 3084289 h 8181528"/>
              <a:gd name="connsiteX75" fmla="*/ 5706095 w 7244952"/>
              <a:gd name="connsiteY75" fmla="*/ 3058170 h 8181528"/>
              <a:gd name="connsiteX76" fmla="*/ 5634881 w 7244952"/>
              <a:gd name="connsiteY76" fmla="*/ 3048794 h 8181528"/>
              <a:gd name="connsiteX77" fmla="*/ 5224710 w 7244952"/>
              <a:gd name="connsiteY77" fmla="*/ 3048794 h 8181528"/>
              <a:gd name="connsiteX78" fmla="*/ 5105053 w 7244952"/>
              <a:gd name="connsiteY78" fmla="*/ 3076253 h 8181528"/>
              <a:gd name="connsiteX79" fmla="*/ 5024908 w 7244952"/>
              <a:gd name="connsiteY79" fmla="*/ 3157066 h 8181528"/>
              <a:gd name="connsiteX80" fmla="*/ 4997003 w 7244952"/>
              <a:gd name="connsiteY80" fmla="*/ 3283645 h 8181528"/>
              <a:gd name="connsiteX81" fmla="*/ 5047902 w 7244952"/>
              <a:gd name="connsiteY81" fmla="*/ 3449067 h 8181528"/>
              <a:gd name="connsiteX82" fmla="*/ 5195689 w 7244952"/>
              <a:gd name="connsiteY82" fmla="*/ 3505994 h 8181528"/>
              <a:gd name="connsiteX83" fmla="*/ 5284763 w 7244952"/>
              <a:gd name="connsiteY83" fmla="*/ 3487465 h 8181528"/>
              <a:gd name="connsiteX84" fmla="*/ 5369371 w 7244952"/>
              <a:gd name="connsiteY84" fmla="*/ 3426073 h 8181528"/>
              <a:gd name="connsiteX85" fmla="*/ 5334992 w 7244952"/>
              <a:gd name="connsiteY85" fmla="*/ 3384550 h 8181528"/>
              <a:gd name="connsiteX86" fmla="*/ 5280744 w 7244952"/>
              <a:gd name="connsiteY86" fmla="*/ 3424734 h 8181528"/>
              <a:gd name="connsiteX87" fmla="*/ 5231854 w 7244952"/>
              <a:gd name="connsiteY87" fmla="*/ 3435896 h 8181528"/>
              <a:gd name="connsiteX88" fmla="*/ 5174258 w 7244952"/>
              <a:gd name="connsiteY88" fmla="*/ 3416474 h 8181528"/>
              <a:gd name="connsiteX89" fmla="*/ 5142557 w 7244952"/>
              <a:gd name="connsiteY89" fmla="*/ 3361110 h 8181528"/>
              <a:gd name="connsiteX90" fmla="*/ 5132735 w 7244952"/>
              <a:gd name="connsiteY90" fmla="*/ 3272929 h 8181528"/>
              <a:gd name="connsiteX91" fmla="*/ 5139432 w 7244952"/>
              <a:gd name="connsiteY91" fmla="*/ 3186534 h 8181528"/>
              <a:gd name="connsiteX92" fmla="*/ 5157514 w 7244952"/>
              <a:gd name="connsiteY92" fmla="*/ 3132063 h 8181528"/>
              <a:gd name="connsiteX93" fmla="*/ 5183857 w 7244952"/>
              <a:gd name="connsiteY93" fmla="*/ 3103488 h 8181528"/>
              <a:gd name="connsiteX94" fmla="*/ 5215334 w 7244952"/>
              <a:gd name="connsiteY94" fmla="*/ 3095228 h 8181528"/>
              <a:gd name="connsiteX95" fmla="*/ 5253732 w 7244952"/>
              <a:gd name="connsiteY95" fmla="*/ 3114427 h 8181528"/>
              <a:gd name="connsiteX96" fmla="*/ 5273824 w 7244952"/>
              <a:gd name="connsiteY96" fmla="*/ 3175595 h 8181528"/>
              <a:gd name="connsiteX97" fmla="*/ 5362228 w 7244952"/>
              <a:gd name="connsiteY97" fmla="*/ 3175595 h 8181528"/>
              <a:gd name="connsiteX98" fmla="*/ 5362228 w 7244952"/>
              <a:gd name="connsiteY98" fmla="*/ 3067993 h 8181528"/>
              <a:gd name="connsiteX99" fmla="*/ 5296818 w 7244952"/>
              <a:gd name="connsiteY99" fmla="*/ 3053928 h 8181528"/>
              <a:gd name="connsiteX100" fmla="*/ 5224710 w 7244952"/>
              <a:gd name="connsiteY100" fmla="*/ 3048794 h 8181528"/>
              <a:gd name="connsiteX101" fmla="*/ 4754860 w 7244952"/>
              <a:gd name="connsiteY101" fmla="*/ 3048794 h 8181528"/>
              <a:gd name="connsiteX102" fmla="*/ 4706416 w 7244952"/>
              <a:gd name="connsiteY102" fmla="*/ 3057054 h 8181528"/>
              <a:gd name="connsiteX103" fmla="*/ 4662438 w 7244952"/>
              <a:gd name="connsiteY103" fmla="*/ 3079378 h 8181528"/>
              <a:gd name="connsiteX104" fmla="*/ 4613771 w 7244952"/>
              <a:gd name="connsiteY104" fmla="*/ 3117999 h 8181528"/>
              <a:gd name="connsiteX105" fmla="*/ 4608413 w 7244952"/>
              <a:gd name="connsiteY105" fmla="*/ 3116660 h 8181528"/>
              <a:gd name="connsiteX106" fmla="*/ 4615110 w 7244952"/>
              <a:gd name="connsiteY106" fmla="*/ 3052366 h 8181528"/>
              <a:gd name="connsiteX107" fmla="*/ 4558853 w 7244952"/>
              <a:gd name="connsiteY107" fmla="*/ 3052366 h 8181528"/>
              <a:gd name="connsiteX108" fmla="*/ 4436516 w 7244952"/>
              <a:gd name="connsiteY108" fmla="*/ 3055938 h 8181528"/>
              <a:gd name="connsiteX109" fmla="*/ 4436516 w 7244952"/>
              <a:gd name="connsiteY109" fmla="*/ 3086299 h 8181528"/>
              <a:gd name="connsiteX110" fmla="*/ 4466654 w 7244952"/>
              <a:gd name="connsiteY110" fmla="*/ 3096791 h 8181528"/>
              <a:gd name="connsiteX111" fmla="*/ 4479602 w 7244952"/>
              <a:gd name="connsiteY111" fmla="*/ 3112418 h 8181528"/>
              <a:gd name="connsiteX112" fmla="*/ 4484960 w 7244952"/>
              <a:gd name="connsiteY112" fmla="*/ 3137868 h 8181528"/>
              <a:gd name="connsiteX113" fmla="*/ 4486076 w 7244952"/>
              <a:gd name="connsiteY113" fmla="*/ 3186758 h 8181528"/>
              <a:gd name="connsiteX114" fmla="*/ 4486076 w 7244952"/>
              <a:gd name="connsiteY114" fmla="*/ 3370263 h 8181528"/>
              <a:gd name="connsiteX115" fmla="*/ 4483174 w 7244952"/>
              <a:gd name="connsiteY115" fmla="*/ 3428752 h 8181528"/>
              <a:gd name="connsiteX116" fmla="*/ 4472012 w 7244952"/>
              <a:gd name="connsiteY116" fmla="*/ 3454202 h 8181528"/>
              <a:gd name="connsiteX117" fmla="*/ 4442321 w 7244952"/>
              <a:gd name="connsiteY117" fmla="*/ 3469382 h 8181528"/>
              <a:gd name="connsiteX118" fmla="*/ 4442321 w 7244952"/>
              <a:gd name="connsiteY118" fmla="*/ 3498850 h 8181528"/>
              <a:gd name="connsiteX119" fmla="*/ 4657973 w 7244952"/>
              <a:gd name="connsiteY119" fmla="*/ 3498850 h 8181528"/>
              <a:gd name="connsiteX120" fmla="*/ 4657973 w 7244952"/>
              <a:gd name="connsiteY120" fmla="*/ 3469382 h 8181528"/>
              <a:gd name="connsiteX121" fmla="*/ 4628728 w 7244952"/>
              <a:gd name="connsiteY121" fmla="*/ 3454871 h 8181528"/>
              <a:gd name="connsiteX122" fmla="*/ 4617789 w 7244952"/>
              <a:gd name="connsiteY122" fmla="*/ 3428752 h 8181528"/>
              <a:gd name="connsiteX123" fmla="*/ 4615110 w 7244952"/>
              <a:gd name="connsiteY123" fmla="*/ 3369816 h 8181528"/>
              <a:gd name="connsiteX124" fmla="*/ 4615110 w 7244952"/>
              <a:gd name="connsiteY124" fmla="*/ 3197920 h 8181528"/>
              <a:gd name="connsiteX125" fmla="*/ 4627612 w 7244952"/>
              <a:gd name="connsiteY125" fmla="*/ 3158406 h 8181528"/>
              <a:gd name="connsiteX126" fmla="*/ 4658419 w 7244952"/>
              <a:gd name="connsiteY126" fmla="*/ 3129384 h 8181528"/>
              <a:gd name="connsiteX127" fmla="*/ 4693691 w 7244952"/>
              <a:gd name="connsiteY127" fmla="*/ 3118892 h 8181528"/>
              <a:gd name="connsiteX128" fmla="*/ 4714230 w 7244952"/>
              <a:gd name="connsiteY128" fmla="*/ 3121571 h 8181528"/>
              <a:gd name="connsiteX129" fmla="*/ 4728517 w 7244952"/>
              <a:gd name="connsiteY129" fmla="*/ 3129831 h 8181528"/>
              <a:gd name="connsiteX130" fmla="*/ 4739903 w 7244952"/>
              <a:gd name="connsiteY130" fmla="*/ 3144118 h 8181528"/>
              <a:gd name="connsiteX131" fmla="*/ 4747939 w 7244952"/>
              <a:gd name="connsiteY131" fmla="*/ 3165773 h 8181528"/>
              <a:gd name="connsiteX132" fmla="*/ 4752181 w 7244952"/>
              <a:gd name="connsiteY132" fmla="*/ 3199036 h 8181528"/>
              <a:gd name="connsiteX133" fmla="*/ 4753520 w 7244952"/>
              <a:gd name="connsiteY133" fmla="*/ 3251051 h 8181528"/>
              <a:gd name="connsiteX134" fmla="*/ 4753520 w 7244952"/>
              <a:gd name="connsiteY134" fmla="*/ 3370263 h 8181528"/>
              <a:gd name="connsiteX135" fmla="*/ 4750618 w 7244952"/>
              <a:gd name="connsiteY135" fmla="*/ 3428975 h 8181528"/>
              <a:gd name="connsiteX136" fmla="*/ 4739679 w 7244952"/>
              <a:gd name="connsiteY136" fmla="*/ 3454871 h 8181528"/>
              <a:gd name="connsiteX137" fmla="*/ 4711104 w 7244952"/>
              <a:gd name="connsiteY137" fmla="*/ 3469382 h 8181528"/>
              <a:gd name="connsiteX138" fmla="*/ 4711104 w 7244952"/>
              <a:gd name="connsiteY138" fmla="*/ 3498850 h 8181528"/>
              <a:gd name="connsiteX139" fmla="*/ 4927649 w 7244952"/>
              <a:gd name="connsiteY139" fmla="*/ 3498850 h 8181528"/>
              <a:gd name="connsiteX140" fmla="*/ 4927649 w 7244952"/>
              <a:gd name="connsiteY140" fmla="*/ 3469382 h 8181528"/>
              <a:gd name="connsiteX141" fmla="*/ 4907111 w 7244952"/>
              <a:gd name="connsiteY141" fmla="*/ 3461792 h 8181528"/>
              <a:gd name="connsiteX142" fmla="*/ 4893940 w 7244952"/>
              <a:gd name="connsiteY142" fmla="*/ 3450853 h 8181528"/>
              <a:gd name="connsiteX143" fmla="*/ 4886573 w 7244952"/>
              <a:gd name="connsiteY143" fmla="*/ 3434110 h 8181528"/>
              <a:gd name="connsiteX144" fmla="*/ 4883224 w 7244952"/>
              <a:gd name="connsiteY144" fmla="*/ 3406651 h 8181528"/>
              <a:gd name="connsiteX145" fmla="*/ 4882554 w 7244952"/>
              <a:gd name="connsiteY145" fmla="*/ 3369816 h 8181528"/>
              <a:gd name="connsiteX146" fmla="*/ 4882554 w 7244952"/>
              <a:gd name="connsiteY146" fmla="*/ 3206403 h 8181528"/>
              <a:gd name="connsiteX147" fmla="*/ 4876080 w 7244952"/>
              <a:gd name="connsiteY147" fmla="*/ 3138984 h 8181528"/>
              <a:gd name="connsiteX148" fmla="*/ 4854649 w 7244952"/>
              <a:gd name="connsiteY148" fmla="*/ 3089870 h 8181528"/>
              <a:gd name="connsiteX149" fmla="*/ 4815582 w 7244952"/>
              <a:gd name="connsiteY149" fmla="*/ 3059286 h 8181528"/>
              <a:gd name="connsiteX150" fmla="*/ 4754860 w 7244952"/>
              <a:gd name="connsiteY150" fmla="*/ 3048794 h 8181528"/>
              <a:gd name="connsiteX151" fmla="*/ 4183360 w 7244952"/>
              <a:gd name="connsiteY151" fmla="*/ 3048794 h 8181528"/>
              <a:gd name="connsiteX152" fmla="*/ 4141390 w 7244952"/>
              <a:gd name="connsiteY152" fmla="*/ 3051473 h 8181528"/>
              <a:gd name="connsiteX153" fmla="*/ 4093840 w 7244952"/>
              <a:gd name="connsiteY153" fmla="*/ 3060626 h 8181528"/>
              <a:gd name="connsiteX154" fmla="*/ 4040038 w 7244952"/>
              <a:gd name="connsiteY154" fmla="*/ 3076922 h 8181528"/>
              <a:gd name="connsiteX155" fmla="*/ 3971726 w 7244952"/>
              <a:gd name="connsiteY155" fmla="*/ 3105051 h 8181528"/>
              <a:gd name="connsiteX156" fmla="*/ 3971726 w 7244952"/>
              <a:gd name="connsiteY156" fmla="*/ 3186311 h 8181528"/>
              <a:gd name="connsiteX157" fmla="*/ 4056112 w 7244952"/>
              <a:gd name="connsiteY157" fmla="*/ 3186311 h 8181528"/>
              <a:gd name="connsiteX158" fmla="*/ 4073971 w 7244952"/>
              <a:gd name="connsiteY158" fmla="*/ 3131170 h 8181528"/>
              <a:gd name="connsiteX159" fmla="*/ 4100983 w 7244952"/>
              <a:gd name="connsiteY159" fmla="*/ 3104158 h 8181528"/>
              <a:gd name="connsiteX160" fmla="*/ 4136479 w 7244952"/>
              <a:gd name="connsiteY160" fmla="*/ 3097014 h 8181528"/>
              <a:gd name="connsiteX161" fmla="*/ 4171751 w 7244952"/>
              <a:gd name="connsiteY161" fmla="*/ 3106167 h 8181528"/>
              <a:gd name="connsiteX162" fmla="*/ 4195861 w 7244952"/>
              <a:gd name="connsiteY162" fmla="*/ 3137868 h 8181528"/>
              <a:gd name="connsiteX163" fmla="*/ 4205238 w 7244952"/>
              <a:gd name="connsiteY163" fmla="*/ 3201938 h 8181528"/>
              <a:gd name="connsiteX164" fmla="*/ 4205238 w 7244952"/>
              <a:gd name="connsiteY164" fmla="*/ 3244354 h 8181528"/>
              <a:gd name="connsiteX165" fmla="*/ 4009454 w 7244952"/>
              <a:gd name="connsiteY165" fmla="*/ 3291905 h 8181528"/>
              <a:gd name="connsiteX166" fmla="*/ 3944937 w 7244952"/>
              <a:gd name="connsiteY166" fmla="*/ 3395266 h 8181528"/>
              <a:gd name="connsiteX167" fmla="*/ 3959448 w 7244952"/>
              <a:gd name="connsiteY167" fmla="*/ 3452862 h 8181528"/>
              <a:gd name="connsiteX168" fmla="*/ 4002310 w 7244952"/>
              <a:gd name="connsiteY168" fmla="*/ 3491930 h 8181528"/>
              <a:gd name="connsiteX169" fmla="*/ 4069060 w 7244952"/>
              <a:gd name="connsiteY169" fmla="*/ 3505994 h 8181528"/>
              <a:gd name="connsiteX170" fmla="*/ 4142507 w 7244952"/>
              <a:gd name="connsiteY170" fmla="*/ 3489920 h 8181528"/>
              <a:gd name="connsiteX171" fmla="*/ 4213721 w 7244952"/>
              <a:gd name="connsiteY171" fmla="*/ 3438128 h 8181528"/>
              <a:gd name="connsiteX172" fmla="*/ 4220418 w 7244952"/>
              <a:gd name="connsiteY172" fmla="*/ 3440361 h 8181528"/>
              <a:gd name="connsiteX173" fmla="*/ 4216400 w 7244952"/>
              <a:gd name="connsiteY173" fmla="*/ 3498850 h 8181528"/>
              <a:gd name="connsiteX174" fmla="*/ 4382492 w 7244952"/>
              <a:gd name="connsiteY174" fmla="*/ 3498850 h 8181528"/>
              <a:gd name="connsiteX175" fmla="*/ 4382492 w 7244952"/>
              <a:gd name="connsiteY175" fmla="*/ 3469382 h 8181528"/>
              <a:gd name="connsiteX176" fmla="*/ 4358158 w 7244952"/>
              <a:gd name="connsiteY176" fmla="*/ 3462015 h 8181528"/>
              <a:gd name="connsiteX177" fmla="*/ 4347220 w 7244952"/>
              <a:gd name="connsiteY177" fmla="*/ 3454425 h 8181528"/>
              <a:gd name="connsiteX178" fmla="*/ 4339853 w 7244952"/>
              <a:gd name="connsiteY178" fmla="*/ 3441923 h 8181528"/>
              <a:gd name="connsiteX179" fmla="*/ 4335611 w 7244952"/>
              <a:gd name="connsiteY179" fmla="*/ 3418036 h 8181528"/>
              <a:gd name="connsiteX180" fmla="*/ 4334272 w 7244952"/>
              <a:gd name="connsiteY180" fmla="*/ 3372495 h 8181528"/>
              <a:gd name="connsiteX181" fmla="*/ 4334272 w 7244952"/>
              <a:gd name="connsiteY181" fmla="*/ 3198366 h 8181528"/>
              <a:gd name="connsiteX182" fmla="*/ 4318198 w 7244952"/>
              <a:gd name="connsiteY182" fmla="*/ 3109516 h 8181528"/>
              <a:gd name="connsiteX183" fmla="*/ 4269755 w 7244952"/>
              <a:gd name="connsiteY183" fmla="*/ 3063081 h 8181528"/>
              <a:gd name="connsiteX184" fmla="*/ 4183360 w 7244952"/>
              <a:gd name="connsiteY184" fmla="*/ 3048794 h 8181528"/>
              <a:gd name="connsiteX185" fmla="*/ 3716635 w 7244952"/>
              <a:gd name="connsiteY185" fmla="*/ 3048794 h 8181528"/>
              <a:gd name="connsiteX186" fmla="*/ 3668191 w 7244952"/>
              <a:gd name="connsiteY186" fmla="*/ 3057054 h 8181528"/>
              <a:gd name="connsiteX187" fmla="*/ 3624213 w 7244952"/>
              <a:gd name="connsiteY187" fmla="*/ 3079378 h 8181528"/>
              <a:gd name="connsiteX188" fmla="*/ 3575546 w 7244952"/>
              <a:gd name="connsiteY188" fmla="*/ 3117999 h 8181528"/>
              <a:gd name="connsiteX189" fmla="*/ 3570188 w 7244952"/>
              <a:gd name="connsiteY189" fmla="*/ 3116660 h 8181528"/>
              <a:gd name="connsiteX190" fmla="*/ 3576885 w 7244952"/>
              <a:gd name="connsiteY190" fmla="*/ 3052366 h 8181528"/>
              <a:gd name="connsiteX191" fmla="*/ 3520628 w 7244952"/>
              <a:gd name="connsiteY191" fmla="*/ 3052366 h 8181528"/>
              <a:gd name="connsiteX192" fmla="*/ 3398291 w 7244952"/>
              <a:gd name="connsiteY192" fmla="*/ 3055938 h 8181528"/>
              <a:gd name="connsiteX193" fmla="*/ 3398291 w 7244952"/>
              <a:gd name="connsiteY193" fmla="*/ 3086299 h 8181528"/>
              <a:gd name="connsiteX194" fmla="*/ 3428429 w 7244952"/>
              <a:gd name="connsiteY194" fmla="*/ 3096791 h 8181528"/>
              <a:gd name="connsiteX195" fmla="*/ 3441377 w 7244952"/>
              <a:gd name="connsiteY195" fmla="*/ 3112418 h 8181528"/>
              <a:gd name="connsiteX196" fmla="*/ 3446735 w 7244952"/>
              <a:gd name="connsiteY196" fmla="*/ 3137868 h 8181528"/>
              <a:gd name="connsiteX197" fmla="*/ 3447851 w 7244952"/>
              <a:gd name="connsiteY197" fmla="*/ 3186758 h 8181528"/>
              <a:gd name="connsiteX198" fmla="*/ 3447851 w 7244952"/>
              <a:gd name="connsiteY198" fmla="*/ 3370263 h 8181528"/>
              <a:gd name="connsiteX199" fmla="*/ 3444949 w 7244952"/>
              <a:gd name="connsiteY199" fmla="*/ 3428752 h 8181528"/>
              <a:gd name="connsiteX200" fmla="*/ 3433787 w 7244952"/>
              <a:gd name="connsiteY200" fmla="*/ 3454202 h 8181528"/>
              <a:gd name="connsiteX201" fmla="*/ 3404096 w 7244952"/>
              <a:gd name="connsiteY201" fmla="*/ 3469382 h 8181528"/>
              <a:gd name="connsiteX202" fmla="*/ 3404096 w 7244952"/>
              <a:gd name="connsiteY202" fmla="*/ 3498850 h 8181528"/>
              <a:gd name="connsiteX203" fmla="*/ 3619748 w 7244952"/>
              <a:gd name="connsiteY203" fmla="*/ 3498850 h 8181528"/>
              <a:gd name="connsiteX204" fmla="*/ 3619748 w 7244952"/>
              <a:gd name="connsiteY204" fmla="*/ 3469382 h 8181528"/>
              <a:gd name="connsiteX205" fmla="*/ 3590503 w 7244952"/>
              <a:gd name="connsiteY205" fmla="*/ 3454871 h 8181528"/>
              <a:gd name="connsiteX206" fmla="*/ 3579564 w 7244952"/>
              <a:gd name="connsiteY206" fmla="*/ 3428752 h 8181528"/>
              <a:gd name="connsiteX207" fmla="*/ 3576885 w 7244952"/>
              <a:gd name="connsiteY207" fmla="*/ 3369816 h 8181528"/>
              <a:gd name="connsiteX208" fmla="*/ 3576885 w 7244952"/>
              <a:gd name="connsiteY208" fmla="*/ 3197920 h 8181528"/>
              <a:gd name="connsiteX209" fmla="*/ 3589387 w 7244952"/>
              <a:gd name="connsiteY209" fmla="*/ 3158406 h 8181528"/>
              <a:gd name="connsiteX210" fmla="*/ 3620194 w 7244952"/>
              <a:gd name="connsiteY210" fmla="*/ 3129384 h 8181528"/>
              <a:gd name="connsiteX211" fmla="*/ 3655466 w 7244952"/>
              <a:gd name="connsiteY211" fmla="*/ 3118892 h 8181528"/>
              <a:gd name="connsiteX212" fmla="*/ 3676005 w 7244952"/>
              <a:gd name="connsiteY212" fmla="*/ 3121571 h 8181528"/>
              <a:gd name="connsiteX213" fmla="*/ 3690292 w 7244952"/>
              <a:gd name="connsiteY213" fmla="*/ 3129831 h 8181528"/>
              <a:gd name="connsiteX214" fmla="*/ 3701678 w 7244952"/>
              <a:gd name="connsiteY214" fmla="*/ 3144118 h 8181528"/>
              <a:gd name="connsiteX215" fmla="*/ 3709714 w 7244952"/>
              <a:gd name="connsiteY215" fmla="*/ 3165773 h 8181528"/>
              <a:gd name="connsiteX216" fmla="*/ 3713956 w 7244952"/>
              <a:gd name="connsiteY216" fmla="*/ 3199036 h 8181528"/>
              <a:gd name="connsiteX217" fmla="*/ 3715295 w 7244952"/>
              <a:gd name="connsiteY217" fmla="*/ 3251051 h 8181528"/>
              <a:gd name="connsiteX218" fmla="*/ 3715295 w 7244952"/>
              <a:gd name="connsiteY218" fmla="*/ 3370263 h 8181528"/>
              <a:gd name="connsiteX219" fmla="*/ 3712393 w 7244952"/>
              <a:gd name="connsiteY219" fmla="*/ 3428975 h 8181528"/>
              <a:gd name="connsiteX220" fmla="*/ 3701454 w 7244952"/>
              <a:gd name="connsiteY220" fmla="*/ 3454871 h 8181528"/>
              <a:gd name="connsiteX221" fmla="*/ 3672879 w 7244952"/>
              <a:gd name="connsiteY221" fmla="*/ 3469382 h 8181528"/>
              <a:gd name="connsiteX222" fmla="*/ 3672879 w 7244952"/>
              <a:gd name="connsiteY222" fmla="*/ 3498850 h 8181528"/>
              <a:gd name="connsiteX223" fmla="*/ 3889424 w 7244952"/>
              <a:gd name="connsiteY223" fmla="*/ 3498850 h 8181528"/>
              <a:gd name="connsiteX224" fmla="*/ 3889424 w 7244952"/>
              <a:gd name="connsiteY224" fmla="*/ 3469382 h 8181528"/>
              <a:gd name="connsiteX225" fmla="*/ 3868886 w 7244952"/>
              <a:gd name="connsiteY225" fmla="*/ 3461792 h 8181528"/>
              <a:gd name="connsiteX226" fmla="*/ 3855715 w 7244952"/>
              <a:gd name="connsiteY226" fmla="*/ 3450853 h 8181528"/>
              <a:gd name="connsiteX227" fmla="*/ 3848348 w 7244952"/>
              <a:gd name="connsiteY227" fmla="*/ 3434110 h 8181528"/>
              <a:gd name="connsiteX228" fmla="*/ 3844999 w 7244952"/>
              <a:gd name="connsiteY228" fmla="*/ 3406651 h 8181528"/>
              <a:gd name="connsiteX229" fmla="*/ 3844329 w 7244952"/>
              <a:gd name="connsiteY229" fmla="*/ 3369816 h 8181528"/>
              <a:gd name="connsiteX230" fmla="*/ 3844329 w 7244952"/>
              <a:gd name="connsiteY230" fmla="*/ 3206403 h 8181528"/>
              <a:gd name="connsiteX231" fmla="*/ 3837855 w 7244952"/>
              <a:gd name="connsiteY231" fmla="*/ 3138984 h 8181528"/>
              <a:gd name="connsiteX232" fmla="*/ 3816424 w 7244952"/>
              <a:gd name="connsiteY232" fmla="*/ 3089870 h 8181528"/>
              <a:gd name="connsiteX233" fmla="*/ 3777357 w 7244952"/>
              <a:gd name="connsiteY233" fmla="*/ 3059286 h 8181528"/>
              <a:gd name="connsiteX234" fmla="*/ 3716635 w 7244952"/>
              <a:gd name="connsiteY234" fmla="*/ 3048794 h 8181528"/>
              <a:gd name="connsiteX235" fmla="*/ 3298874 w 7244952"/>
              <a:gd name="connsiteY235" fmla="*/ 3048794 h 8181528"/>
              <a:gd name="connsiteX236" fmla="*/ 3224311 w 7244952"/>
              <a:gd name="connsiteY236" fmla="*/ 3065760 h 8181528"/>
              <a:gd name="connsiteX237" fmla="*/ 3157339 w 7244952"/>
              <a:gd name="connsiteY237" fmla="*/ 3121124 h 8181528"/>
              <a:gd name="connsiteX238" fmla="*/ 3151535 w 7244952"/>
              <a:gd name="connsiteY238" fmla="*/ 3119785 h 8181528"/>
              <a:gd name="connsiteX239" fmla="*/ 3157785 w 7244952"/>
              <a:gd name="connsiteY239" fmla="*/ 3052366 h 8181528"/>
              <a:gd name="connsiteX240" fmla="*/ 3101528 w 7244952"/>
              <a:gd name="connsiteY240" fmla="*/ 3052366 h 8181528"/>
              <a:gd name="connsiteX241" fmla="*/ 2979192 w 7244952"/>
              <a:gd name="connsiteY241" fmla="*/ 3055938 h 8181528"/>
              <a:gd name="connsiteX242" fmla="*/ 2979192 w 7244952"/>
              <a:gd name="connsiteY242" fmla="*/ 3086299 h 8181528"/>
              <a:gd name="connsiteX243" fmla="*/ 3009329 w 7244952"/>
              <a:gd name="connsiteY243" fmla="*/ 3096791 h 8181528"/>
              <a:gd name="connsiteX244" fmla="*/ 3022277 w 7244952"/>
              <a:gd name="connsiteY244" fmla="*/ 3112418 h 8181528"/>
              <a:gd name="connsiteX245" fmla="*/ 3027635 w 7244952"/>
              <a:gd name="connsiteY245" fmla="*/ 3137868 h 8181528"/>
              <a:gd name="connsiteX246" fmla="*/ 3028751 w 7244952"/>
              <a:gd name="connsiteY246" fmla="*/ 3186758 h 8181528"/>
              <a:gd name="connsiteX247" fmla="*/ 3028751 w 7244952"/>
              <a:gd name="connsiteY247" fmla="*/ 3370263 h 8181528"/>
              <a:gd name="connsiteX248" fmla="*/ 3025849 w 7244952"/>
              <a:gd name="connsiteY248" fmla="*/ 3428752 h 8181528"/>
              <a:gd name="connsiteX249" fmla="*/ 3014687 w 7244952"/>
              <a:gd name="connsiteY249" fmla="*/ 3454202 h 8181528"/>
              <a:gd name="connsiteX250" fmla="*/ 2984996 w 7244952"/>
              <a:gd name="connsiteY250" fmla="*/ 3469382 h 8181528"/>
              <a:gd name="connsiteX251" fmla="*/ 2984996 w 7244952"/>
              <a:gd name="connsiteY251" fmla="*/ 3498850 h 8181528"/>
              <a:gd name="connsiteX252" fmla="*/ 3205113 w 7244952"/>
              <a:gd name="connsiteY252" fmla="*/ 3498850 h 8181528"/>
              <a:gd name="connsiteX253" fmla="*/ 3205113 w 7244952"/>
              <a:gd name="connsiteY253" fmla="*/ 3469382 h 8181528"/>
              <a:gd name="connsiteX254" fmla="*/ 3173412 w 7244952"/>
              <a:gd name="connsiteY254" fmla="*/ 3455764 h 8181528"/>
              <a:gd name="connsiteX255" fmla="*/ 3160911 w 7244952"/>
              <a:gd name="connsiteY255" fmla="*/ 3429199 h 8181528"/>
              <a:gd name="connsiteX256" fmla="*/ 3157785 w 7244952"/>
              <a:gd name="connsiteY256" fmla="*/ 3369816 h 8181528"/>
              <a:gd name="connsiteX257" fmla="*/ 3157785 w 7244952"/>
              <a:gd name="connsiteY257" fmla="*/ 3227388 h 8181528"/>
              <a:gd name="connsiteX258" fmla="*/ 3159125 w 7244952"/>
              <a:gd name="connsiteY258" fmla="*/ 3192562 h 8181528"/>
              <a:gd name="connsiteX259" fmla="*/ 3164706 w 7244952"/>
              <a:gd name="connsiteY259" fmla="*/ 3169568 h 8181528"/>
              <a:gd name="connsiteX260" fmla="*/ 3178993 w 7244952"/>
              <a:gd name="connsiteY260" fmla="*/ 3147244 h 8181528"/>
              <a:gd name="connsiteX261" fmla="*/ 3200871 w 7244952"/>
              <a:gd name="connsiteY261" fmla="*/ 3130277 h 8181528"/>
              <a:gd name="connsiteX262" fmla="*/ 3222526 w 7244952"/>
              <a:gd name="connsiteY262" fmla="*/ 3124250 h 8181528"/>
              <a:gd name="connsiteX263" fmla="*/ 3255342 w 7244952"/>
              <a:gd name="connsiteY263" fmla="*/ 3138091 h 8181528"/>
              <a:gd name="connsiteX264" fmla="*/ 3275211 w 7244952"/>
              <a:gd name="connsiteY264" fmla="*/ 3177828 h 8181528"/>
              <a:gd name="connsiteX265" fmla="*/ 3356024 w 7244952"/>
              <a:gd name="connsiteY265" fmla="*/ 3177828 h 8181528"/>
              <a:gd name="connsiteX266" fmla="*/ 3356024 w 7244952"/>
              <a:gd name="connsiteY266" fmla="*/ 3054598 h 8181528"/>
              <a:gd name="connsiteX267" fmla="*/ 3298874 w 7244952"/>
              <a:gd name="connsiteY267" fmla="*/ 3048794 h 8181528"/>
              <a:gd name="connsiteX268" fmla="*/ 2720231 w 7244952"/>
              <a:gd name="connsiteY268" fmla="*/ 3048794 h 8181528"/>
              <a:gd name="connsiteX269" fmla="*/ 2605038 w 7244952"/>
              <a:gd name="connsiteY269" fmla="*/ 3075806 h 8181528"/>
              <a:gd name="connsiteX270" fmla="*/ 2528466 w 7244952"/>
              <a:gd name="connsiteY270" fmla="*/ 3155280 h 8181528"/>
              <a:gd name="connsiteX271" fmla="*/ 2501453 w 7244952"/>
              <a:gd name="connsiteY271" fmla="*/ 3280073 h 8181528"/>
              <a:gd name="connsiteX272" fmla="*/ 2553915 w 7244952"/>
              <a:gd name="connsiteY272" fmla="*/ 3449067 h 8181528"/>
              <a:gd name="connsiteX273" fmla="*/ 2710408 w 7244952"/>
              <a:gd name="connsiteY273" fmla="*/ 3505994 h 8181528"/>
              <a:gd name="connsiteX274" fmla="*/ 2813100 w 7244952"/>
              <a:gd name="connsiteY274" fmla="*/ 3485902 h 8181528"/>
              <a:gd name="connsiteX275" fmla="*/ 2903289 w 7244952"/>
              <a:gd name="connsiteY275" fmla="*/ 3417590 h 8181528"/>
              <a:gd name="connsiteX276" fmla="*/ 2867124 w 7244952"/>
              <a:gd name="connsiteY276" fmla="*/ 3378299 h 8181528"/>
              <a:gd name="connsiteX277" fmla="*/ 2808188 w 7244952"/>
              <a:gd name="connsiteY277" fmla="*/ 3423171 h 8181528"/>
              <a:gd name="connsiteX278" fmla="*/ 2747020 w 7244952"/>
              <a:gd name="connsiteY278" fmla="*/ 3435896 h 8181528"/>
              <a:gd name="connsiteX279" fmla="*/ 2660625 w 7244952"/>
              <a:gd name="connsiteY279" fmla="*/ 3397721 h 8181528"/>
              <a:gd name="connsiteX280" fmla="*/ 2631827 w 7244952"/>
              <a:gd name="connsiteY280" fmla="*/ 3278733 h 8181528"/>
              <a:gd name="connsiteX281" fmla="*/ 2914898 w 7244952"/>
              <a:gd name="connsiteY281" fmla="*/ 3278733 h 8181528"/>
              <a:gd name="connsiteX282" fmla="*/ 2905522 w 7244952"/>
              <a:gd name="connsiteY282" fmla="*/ 3188990 h 8181528"/>
              <a:gd name="connsiteX283" fmla="*/ 2880072 w 7244952"/>
              <a:gd name="connsiteY283" fmla="*/ 3124696 h 8181528"/>
              <a:gd name="connsiteX284" fmla="*/ 2843907 w 7244952"/>
              <a:gd name="connsiteY284" fmla="*/ 3084289 h 8181528"/>
              <a:gd name="connsiteX285" fmla="*/ 2791445 w 7244952"/>
              <a:gd name="connsiteY285" fmla="*/ 3058170 h 8181528"/>
              <a:gd name="connsiteX286" fmla="*/ 2720231 w 7244952"/>
              <a:gd name="connsiteY286" fmla="*/ 3048794 h 8181528"/>
              <a:gd name="connsiteX287" fmla="*/ 1760885 w 7244952"/>
              <a:gd name="connsiteY287" fmla="*/ 3048794 h 8181528"/>
              <a:gd name="connsiteX288" fmla="*/ 1672257 w 7244952"/>
              <a:gd name="connsiteY288" fmla="*/ 3062412 h 8181528"/>
              <a:gd name="connsiteX289" fmla="*/ 1601936 w 7244952"/>
              <a:gd name="connsiteY289" fmla="*/ 3104604 h 8181528"/>
              <a:gd name="connsiteX290" fmla="*/ 1555948 w 7244952"/>
              <a:gd name="connsiteY290" fmla="*/ 3176935 h 8181528"/>
              <a:gd name="connsiteX291" fmla="*/ 1539428 w 7244952"/>
              <a:gd name="connsiteY291" fmla="*/ 3280519 h 8181528"/>
              <a:gd name="connsiteX292" fmla="*/ 1566217 w 7244952"/>
              <a:gd name="connsiteY292" fmla="*/ 3409330 h 8181528"/>
              <a:gd name="connsiteX293" fmla="*/ 1640557 w 7244952"/>
              <a:gd name="connsiteY293" fmla="*/ 3483000 h 8181528"/>
              <a:gd name="connsiteX294" fmla="*/ 1753741 w 7244952"/>
              <a:gd name="connsiteY294" fmla="*/ 3505994 h 8181528"/>
              <a:gd name="connsiteX295" fmla="*/ 1873845 w 7244952"/>
              <a:gd name="connsiteY295" fmla="*/ 3480544 h 8181528"/>
              <a:gd name="connsiteX296" fmla="*/ 1951533 w 7244952"/>
              <a:gd name="connsiteY296" fmla="*/ 3402633 h 8181528"/>
              <a:gd name="connsiteX297" fmla="*/ 1978769 w 7244952"/>
              <a:gd name="connsiteY297" fmla="*/ 3272483 h 8181528"/>
              <a:gd name="connsiteX298" fmla="*/ 1923851 w 7244952"/>
              <a:gd name="connsiteY298" fmla="*/ 3105721 h 8181528"/>
              <a:gd name="connsiteX299" fmla="*/ 1760885 w 7244952"/>
              <a:gd name="connsiteY299" fmla="*/ 3048794 h 8181528"/>
              <a:gd name="connsiteX300" fmla="*/ 1239986 w 7244952"/>
              <a:gd name="connsiteY300" fmla="*/ 2882255 h 8181528"/>
              <a:gd name="connsiteX301" fmla="*/ 1131267 w 7244952"/>
              <a:gd name="connsiteY301" fmla="*/ 2899891 h 8181528"/>
              <a:gd name="connsiteX302" fmla="*/ 1040184 w 7244952"/>
              <a:gd name="connsiteY302" fmla="*/ 2956148 h 8181528"/>
              <a:gd name="connsiteX303" fmla="*/ 977007 w 7244952"/>
              <a:gd name="connsiteY303" fmla="*/ 3056384 h 8181528"/>
              <a:gd name="connsiteX304" fmla="*/ 954236 w 7244952"/>
              <a:gd name="connsiteY304" fmla="*/ 3199259 h 8181528"/>
              <a:gd name="connsiteX305" fmla="*/ 1018307 w 7244952"/>
              <a:gd name="connsiteY305" fmla="*/ 3429868 h 8181528"/>
              <a:gd name="connsiteX306" fmla="*/ 1212751 w 7244952"/>
              <a:gd name="connsiteY306" fmla="*/ 3505994 h 8181528"/>
              <a:gd name="connsiteX307" fmla="*/ 1334641 w 7244952"/>
              <a:gd name="connsiteY307" fmla="*/ 3473401 h 8181528"/>
              <a:gd name="connsiteX308" fmla="*/ 1365002 w 7244952"/>
              <a:gd name="connsiteY308" fmla="*/ 3505547 h 8181528"/>
              <a:gd name="connsiteX309" fmla="*/ 1429295 w 7244952"/>
              <a:gd name="connsiteY309" fmla="*/ 3492153 h 8181528"/>
              <a:gd name="connsiteX310" fmla="*/ 1429295 w 7244952"/>
              <a:gd name="connsiteY310" fmla="*/ 3323828 h 8181528"/>
              <a:gd name="connsiteX311" fmla="*/ 1432198 w 7244952"/>
              <a:gd name="connsiteY311" fmla="*/ 3284314 h 8181528"/>
              <a:gd name="connsiteX312" fmla="*/ 1443137 w 7244952"/>
              <a:gd name="connsiteY312" fmla="*/ 3261767 h 8181528"/>
              <a:gd name="connsiteX313" fmla="*/ 1473497 w 7244952"/>
              <a:gd name="connsiteY313" fmla="*/ 3246586 h 8181528"/>
              <a:gd name="connsiteX314" fmla="*/ 1473497 w 7244952"/>
              <a:gd name="connsiteY314" fmla="*/ 3217118 h 8181528"/>
              <a:gd name="connsiteX315" fmla="*/ 1244897 w 7244952"/>
              <a:gd name="connsiteY315" fmla="*/ 3217118 h 8181528"/>
              <a:gd name="connsiteX316" fmla="*/ 1244897 w 7244952"/>
              <a:gd name="connsiteY316" fmla="*/ 3246586 h 8181528"/>
              <a:gd name="connsiteX317" fmla="*/ 1271687 w 7244952"/>
              <a:gd name="connsiteY317" fmla="*/ 3256856 h 8181528"/>
              <a:gd name="connsiteX318" fmla="*/ 1283965 w 7244952"/>
              <a:gd name="connsiteY318" fmla="*/ 3268464 h 8181528"/>
              <a:gd name="connsiteX319" fmla="*/ 1290885 w 7244952"/>
              <a:gd name="connsiteY319" fmla="*/ 3290119 h 8181528"/>
              <a:gd name="connsiteX320" fmla="*/ 1293118 w 7244952"/>
              <a:gd name="connsiteY320" fmla="*/ 3338562 h 8181528"/>
              <a:gd name="connsiteX321" fmla="*/ 1293118 w 7244952"/>
              <a:gd name="connsiteY321" fmla="*/ 3355529 h 8181528"/>
              <a:gd name="connsiteX322" fmla="*/ 1274365 w 7244952"/>
              <a:gd name="connsiteY322" fmla="*/ 3430315 h 8181528"/>
              <a:gd name="connsiteX323" fmla="*/ 1216322 w 7244952"/>
              <a:gd name="connsiteY323" fmla="*/ 3453755 h 8181528"/>
              <a:gd name="connsiteX324" fmla="*/ 1149573 w 7244952"/>
              <a:gd name="connsiteY324" fmla="*/ 3422055 h 8181528"/>
              <a:gd name="connsiteX325" fmla="*/ 1109389 w 7244952"/>
              <a:gd name="connsiteY325" fmla="*/ 3332981 h 8181528"/>
              <a:gd name="connsiteX326" fmla="*/ 1096218 w 7244952"/>
              <a:gd name="connsiteY326" fmla="*/ 3197473 h 8181528"/>
              <a:gd name="connsiteX327" fmla="*/ 1115863 w 7244952"/>
              <a:gd name="connsiteY327" fmla="*/ 3047678 h 8181528"/>
              <a:gd name="connsiteX328" fmla="*/ 1169442 w 7244952"/>
              <a:gd name="connsiteY328" fmla="*/ 2961506 h 8181528"/>
              <a:gd name="connsiteX329" fmla="*/ 1247576 w 7244952"/>
              <a:gd name="connsiteY329" fmla="*/ 2934494 h 8181528"/>
              <a:gd name="connsiteX330" fmla="*/ 1300931 w 7244952"/>
              <a:gd name="connsiteY330" fmla="*/ 2944540 h 8181528"/>
              <a:gd name="connsiteX331" fmla="*/ 1334864 w 7244952"/>
              <a:gd name="connsiteY331" fmla="*/ 2974901 h 8181528"/>
              <a:gd name="connsiteX332" fmla="*/ 1358305 w 7244952"/>
              <a:gd name="connsiteY332" fmla="*/ 3032720 h 8181528"/>
              <a:gd name="connsiteX333" fmla="*/ 1419473 w 7244952"/>
              <a:gd name="connsiteY333" fmla="*/ 3032720 h 8181528"/>
              <a:gd name="connsiteX334" fmla="*/ 1419473 w 7244952"/>
              <a:gd name="connsiteY334" fmla="*/ 2905919 h 8181528"/>
              <a:gd name="connsiteX335" fmla="*/ 1239986 w 7244952"/>
              <a:gd name="connsiteY335" fmla="*/ 2882255 h 8181528"/>
              <a:gd name="connsiteX336" fmla="*/ 3922763 w 7244952"/>
              <a:gd name="connsiteY336" fmla="*/ 1999854 h 8181528"/>
              <a:gd name="connsiteX337" fmla="*/ 3974555 w 7244952"/>
              <a:gd name="connsiteY337" fmla="*/ 2033341 h 8181528"/>
              <a:gd name="connsiteX338" fmla="*/ 3992414 w 7244952"/>
              <a:gd name="connsiteY338" fmla="*/ 2135139 h 8181528"/>
              <a:gd name="connsiteX339" fmla="*/ 3843735 w 7244952"/>
              <a:gd name="connsiteY339" fmla="*/ 2135139 h 8181528"/>
              <a:gd name="connsiteX340" fmla="*/ 3868068 w 7244952"/>
              <a:gd name="connsiteY340" fmla="*/ 2034680 h 8181528"/>
              <a:gd name="connsiteX341" fmla="*/ 3922763 w 7244952"/>
              <a:gd name="connsiteY341" fmla="*/ 1999854 h 8181528"/>
              <a:gd name="connsiteX342" fmla="*/ 3436988 w 7244952"/>
              <a:gd name="connsiteY342" fmla="*/ 1999854 h 8181528"/>
              <a:gd name="connsiteX343" fmla="*/ 3488780 w 7244952"/>
              <a:gd name="connsiteY343" fmla="*/ 2033341 h 8181528"/>
              <a:gd name="connsiteX344" fmla="*/ 3506639 w 7244952"/>
              <a:gd name="connsiteY344" fmla="*/ 2135139 h 8181528"/>
              <a:gd name="connsiteX345" fmla="*/ 3357960 w 7244952"/>
              <a:gd name="connsiteY345" fmla="*/ 2135139 h 8181528"/>
              <a:gd name="connsiteX346" fmla="*/ 3382293 w 7244952"/>
              <a:gd name="connsiteY346" fmla="*/ 2034680 h 8181528"/>
              <a:gd name="connsiteX347" fmla="*/ 3436988 w 7244952"/>
              <a:gd name="connsiteY347" fmla="*/ 1999854 h 8181528"/>
              <a:gd name="connsiteX348" fmla="*/ 1168551 w 7244952"/>
              <a:gd name="connsiteY348" fmla="*/ 1999854 h 8181528"/>
              <a:gd name="connsiteX349" fmla="*/ 1231282 w 7244952"/>
              <a:gd name="connsiteY349" fmla="*/ 2047405 h 8181528"/>
              <a:gd name="connsiteX350" fmla="*/ 1252490 w 7244952"/>
              <a:gd name="connsiteY350" fmla="*/ 2190950 h 8181528"/>
              <a:gd name="connsiteX351" fmla="*/ 1248471 w 7244952"/>
              <a:gd name="connsiteY351" fmla="*/ 2262610 h 8181528"/>
              <a:gd name="connsiteX352" fmla="*/ 1234853 w 7244952"/>
              <a:gd name="connsiteY352" fmla="*/ 2317305 h 8181528"/>
              <a:gd name="connsiteX353" fmla="*/ 1209404 w 7244952"/>
              <a:gd name="connsiteY353" fmla="*/ 2352130 h 8181528"/>
              <a:gd name="connsiteX354" fmla="*/ 1169890 w 7244952"/>
              <a:gd name="connsiteY354" fmla="*/ 2364186 h 8181528"/>
              <a:gd name="connsiteX355" fmla="*/ 1105820 w 7244952"/>
              <a:gd name="connsiteY355" fmla="*/ 2317081 h 8181528"/>
              <a:gd name="connsiteX356" fmla="*/ 1084612 w 7244952"/>
              <a:gd name="connsiteY356" fmla="*/ 2175323 h 8181528"/>
              <a:gd name="connsiteX357" fmla="*/ 1093095 w 7244952"/>
              <a:gd name="connsiteY357" fmla="*/ 2076650 h 8181528"/>
              <a:gd name="connsiteX358" fmla="*/ 1119884 w 7244952"/>
              <a:gd name="connsiteY358" fmla="*/ 2019053 h 8181528"/>
              <a:gd name="connsiteX359" fmla="*/ 1168551 w 7244952"/>
              <a:gd name="connsiteY359" fmla="*/ 1999854 h 8181528"/>
              <a:gd name="connsiteX360" fmla="*/ 4507210 w 7244952"/>
              <a:gd name="connsiteY360" fmla="*/ 1953419 h 8181528"/>
              <a:gd name="connsiteX361" fmla="*/ 4458766 w 7244952"/>
              <a:gd name="connsiteY361" fmla="*/ 1961679 h 8181528"/>
              <a:gd name="connsiteX362" fmla="*/ 4414788 w 7244952"/>
              <a:gd name="connsiteY362" fmla="*/ 1984003 h 8181528"/>
              <a:gd name="connsiteX363" fmla="*/ 4366121 w 7244952"/>
              <a:gd name="connsiteY363" fmla="*/ 2022624 h 8181528"/>
              <a:gd name="connsiteX364" fmla="*/ 4360763 w 7244952"/>
              <a:gd name="connsiteY364" fmla="*/ 2021284 h 8181528"/>
              <a:gd name="connsiteX365" fmla="*/ 4367460 w 7244952"/>
              <a:gd name="connsiteY365" fmla="*/ 1956991 h 8181528"/>
              <a:gd name="connsiteX366" fmla="*/ 4311203 w 7244952"/>
              <a:gd name="connsiteY366" fmla="*/ 1956991 h 8181528"/>
              <a:gd name="connsiteX367" fmla="*/ 4188866 w 7244952"/>
              <a:gd name="connsiteY367" fmla="*/ 1960563 h 8181528"/>
              <a:gd name="connsiteX368" fmla="*/ 4188866 w 7244952"/>
              <a:gd name="connsiteY368" fmla="*/ 1990924 h 8181528"/>
              <a:gd name="connsiteX369" fmla="*/ 4219004 w 7244952"/>
              <a:gd name="connsiteY369" fmla="*/ 2001416 h 8181528"/>
              <a:gd name="connsiteX370" fmla="*/ 4231952 w 7244952"/>
              <a:gd name="connsiteY370" fmla="*/ 2017043 h 8181528"/>
              <a:gd name="connsiteX371" fmla="*/ 4237310 w 7244952"/>
              <a:gd name="connsiteY371" fmla="*/ 2042492 h 8181528"/>
              <a:gd name="connsiteX372" fmla="*/ 4238426 w 7244952"/>
              <a:gd name="connsiteY372" fmla="*/ 2091382 h 8181528"/>
              <a:gd name="connsiteX373" fmla="*/ 4238426 w 7244952"/>
              <a:gd name="connsiteY373" fmla="*/ 2274888 h 8181528"/>
              <a:gd name="connsiteX374" fmla="*/ 4235524 w 7244952"/>
              <a:gd name="connsiteY374" fmla="*/ 2333377 h 8181528"/>
              <a:gd name="connsiteX375" fmla="*/ 4224362 w 7244952"/>
              <a:gd name="connsiteY375" fmla="*/ 2358827 h 8181528"/>
              <a:gd name="connsiteX376" fmla="*/ 4194671 w 7244952"/>
              <a:gd name="connsiteY376" fmla="*/ 2374007 h 8181528"/>
              <a:gd name="connsiteX377" fmla="*/ 4194671 w 7244952"/>
              <a:gd name="connsiteY377" fmla="*/ 2403475 h 8181528"/>
              <a:gd name="connsiteX378" fmla="*/ 4410323 w 7244952"/>
              <a:gd name="connsiteY378" fmla="*/ 2403475 h 8181528"/>
              <a:gd name="connsiteX379" fmla="*/ 4410323 w 7244952"/>
              <a:gd name="connsiteY379" fmla="*/ 2374007 h 8181528"/>
              <a:gd name="connsiteX380" fmla="*/ 4381078 w 7244952"/>
              <a:gd name="connsiteY380" fmla="*/ 2359496 h 8181528"/>
              <a:gd name="connsiteX381" fmla="*/ 4370139 w 7244952"/>
              <a:gd name="connsiteY381" fmla="*/ 2333377 h 8181528"/>
              <a:gd name="connsiteX382" fmla="*/ 4367460 w 7244952"/>
              <a:gd name="connsiteY382" fmla="*/ 2274441 h 8181528"/>
              <a:gd name="connsiteX383" fmla="*/ 4367460 w 7244952"/>
              <a:gd name="connsiteY383" fmla="*/ 2102545 h 8181528"/>
              <a:gd name="connsiteX384" fmla="*/ 4379962 w 7244952"/>
              <a:gd name="connsiteY384" fmla="*/ 2063031 h 8181528"/>
              <a:gd name="connsiteX385" fmla="*/ 4410769 w 7244952"/>
              <a:gd name="connsiteY385" fmla="*/ 2034009 h 8181528"/>
              <a:gd name="connsiteX386" fmla="*/ 4446041 w 7244952"/>
              <a:gd name="connsiteY386" fmla="*/ 2023517 h 8181528"/>
              <a:gd name="connsiteX387" fmla="*/ 4466580 w 7244952"/>
              <a:gd name="connsiteY387" fmla="*/ 2026196 h 8181528"/>
              <a:gd name="connsiteX388" fmla="*/ 4480867 w 7244952"/>
              <a:gd name="connsiteY388" fmla="*/ 2034456 h 8181528"/>
              <a:gd name="connsiteX389" fmla="*/ 4492253 w 7244952"/>
              <a:gd name="connsiteY389" fmla="*/ 2048743 h 8181528"/>
              <a:gd name="connsiteX390" fmla="*/ 4500289 w 7244952"/>
              <a:gd name="connsiteY390" fmla="*/ 2070398 h 8181528"/>
              <a:gd name="connsiteX391" fmla="*/ 4504531 w 7244952"/>
              <a:gd name="connsiteY391" fmla="*/ 2103661 h 8181528"/>
              <a:gd name="connsiteX392" fmla="*/ 4505870 w 7244952"/>
              <a:gd name="connsiteY392" fmla="*/ 2155676 h 8181528"/>
              <a:gd name="connsiteX393" fmla="*/ 4505870 w 7244952"/>
              <a:gd name="connsiteY393" fmla="*/ 2274888 h 8181528"/>
              <a:gd name="connsiteX394" fmla="*/ 4502968 w 7244952"/>
              <a:gd name="connsiteY394" fmla="*/ 2333600 h 8181528"/>
              <a:gd name="connsiteX395" fmla="*/ 4492029 w 7244952"/>
              <a:gd name="connsiteY395" fmla="*/ 2359496 h 8181528"/>
              <a:gd name="connsiteX396" fmla="*/ 4463454 w 7244952"/>
              <a:gd name="connsiteY396" fmla="*/ 2374007 h 8181528"/>
              <a:gd name="connsiteX397" fmla="*/ 4463454 w 7244952"/>
              <a:gd name="connsiteY397" fmla="*/ 2403475 h 8181528"/>
              <a:gd name="connsiteX398" fmla="*/ 4679999 w 7244952"/>
              <a:gd name="connsiteY398" fmla="*/ 2403475 h 8181528"/>
              <a:gd name="connsiteX399" fmla="*/ 4679999 w 7244952"/>
              <a:gd name="connsiteY399" fmla="*/ 2374007 h 8181528"/>
              <a:gd name="connsiteX400" fmla="*/ 4659461 w 7244952"/>
              <a:gd name="connsiteY400" fmla="*/ 2366417 h 8181528"/>
              <a:gd name="connsiteX401" fmla="*/ 4646290 w 7244952"/>
              <a:gd name="connsiteY401" fmla="*/ 2355478 h 8181528"/>
              <a:gd name="connsiteX402" fmla="*/ 4638923 w 7244952"/>
              <a:gd name="connsiteY402" fmla="*/ 2338735 h 8181528"/>
              <a:gd name="connsiteX403" fmla="*/ 4635574 w 7244952"/>
              <a:gd name="connsiteY403" fmla="*/ 2311276 h 8181528"/>
              <a:gd name="connsiteX404" fmla="*/ 4634904 w 7244952"/>
              <a:gd name="connsiteY404" fmla="*/ 2274441 h 8181528"/>
              <a:gd name="connsiteX405" fmla="*/ 4634904 w 7244952"/>
              <a:gd name="connsiteY405" fmla="*/ 2111028 h 8181528"/>
              <a:gd name="connsiteX406" fmla="*/ 4628430 w 7244952"/>
              <a:gd name="connsiteY406" fmla="*/ 2043609 h 8181528"/>
              <a:gd name="connsiteX407" fmla="*/ 4606999 w 7244952"/>
              <a:gd name="connsiteY407" fmla="*/ 1994495 h 8181528"/>
              <a:gd name="connsiteX408" fmla="*/ 4567932 w 7244952"/>
              <a:gd name="connsiteY408" fmla="*/ 1963911 h 8181528"/>
              <a:gd name="connsiteX409" fmla="*/ 4507210 w 7244952"/>
              <a:gd name="connsiteY409" fmla="*/ 1953419 h 8181528"/>
              <a:gd name="connsiteX410" fmla="*/ 3929906 w 7244952"/>
              <a:gd name="connsiteY410" fmla="*/ 1953419 h 8181528"/>
              <a:gd name="connsiteX411" fmla="*/ 3814713 w 7244952"/>
              <a:gd name="connsiteY411" fmla="*/ 1980431 h 8181528"/>
              <a:gd name="connsiteX412" fmla="*/ 3738141 w 7244952"/>
              <a:gd name="connsiteY412" fmla="*/ 2059905 h 8181528"/>
              <a:gd name="connsiteX413" fmla="*/ 3711128 w 7244952"/>
              <a:gd name="connsiteY413" fmla="*/ 2184698 h 8181528"/>
              <a:gd name="connsiteX414" fmla="*/ 3763590 w 7244952"/>
              <a:gd name="connsiteY414" fmla="*/ 2353692 h 8181528"/>
              <a:gd name="connsiteX415" fmla="*/ 3920083 w 7244952"/>
              <a:gd name="connsiteY415" fmla="*/ 2410619 h 8181528"/>
              <a:gd name="connsiteX416" fmla="*/ 4022774 w 7244952"/>
              <a:gd name="connsiteY416" fmla="*/ 2390527 h 8181528"/>
              <a:gd name="connsiteX417" fmla="*/ 4112964 w 7244952"/>
              <a:gd name="connsiteY417" fmla="*/ 2322215 h 8181528"/>
              <a:gd name="connsiteX418" fmla="*/ 4076799 w 7244952"/>
              <a:gd name="connsiteY418" fmla="*/ 2282924 h 8181528"/>
              <a:gd name="connsiteX419" fmla="*/ 4017863 w 7244952"/>
              <a:gd name="connsiteY419" fmla="*/ 2327796 h 8181528"/>
              <a:gd name="connsiteX420" fmla="*/ 3956695 w 7244952"/>
              <a:gd name="connsiteY420" fmla="*/ 2340521 h 8181528"/>
              <a:gd name="connsiteX421" fmla="*/ 3870300 w 7244952"/>
              <a:gd name="connsiteY421" fmla="*/ 2302346 h 8181528"/>
              <a:gd name="connsiteX422" fmla="*/ 3841502 w 7244952"/>
              <a:gd name="connsiteY422" fmla="*/ 2183358 h 8181528"/>
              <a:gd name="connsiteX423" fmla="*/ 4124573 w 7244952"/>
              <a:gd name="connsiteY423" fmla="*/ 2183358 h 8181528"/>
              <a:gd name="connsiteX424" fmla="*/ 4115197 w 7244952"/>
              <a:gd name="connsiteY424" fmla="*/ 2093615 h 8181528"/>
              <a:gd name="connsiteX425" fmla="*/ 4089747 w 7244952"/>
              <a:gd name="connsiteY425" fmla="*/ 2029321 h 8181528"/>
              <a:gd name="connsiteX426" fmla="*/ 4053582 w 7244952"/>
              <a:gd name="connsiteY426" fmla="*/ 1988914 h 8181528"/>
              <a:gd name="connsiteX427" fmla="*/ 4001120 w 7244952"/>
              <a:gd name="connsiteY427" fmla="*/ 1962795 h 8181528"/>
              <a:gd name="connsiteX428" fmla="*/ 3929906 w 7244952"/>
              <a:gd name="connsiteY428" fmla="*/ 1953419 h 8181528"/>
              <a:gd name="connsiteX429" fmla="*/ 3444131 w 7244952"/>
              <a:gd name="connsiteY429" fmla="*/ 1953419 h 8181528"/>
              <a:gd name="connsiteX430" fmla="*/ 3328938 w 7244952"/>
              <a:gd name="connsiteY430" fmla="*/ 1980431 h 8181528"/>
              <a:gd name="connsiteX431" fmla="*/ 3252366 w 7244952"/>
              <a:gd name="connsiteY431" fmla="*/ 2059905 h 8181528"/>
              <a:gd name="connsiteX432" fmla="*/ 3225353 w 7244952"/>
              <a:gd name="connsiteY432" fmla="*/ 2184698 h 8181528"/>
              <a:gd name="connsiteX433" fmla="*/ 3277815 w 7244952"/>
              <a:gd name="connsiteY433" fmla="*/ 2353692 h 8181528"/>
              <a:gd name="connsiteX434" fmla="*/ 3434308 w 7244952"/>
              <a:gd name="connsiteY434" fmla="*/ 2410619 h 8181528"/>
              <a:gd name="connsiteX435" fmla="*/ 3536999 w 7244952"/>
              <a:gd name="connsiteY435" fmla="*/ 2390527 h 8181528"/>
              <a:gd name="connsiteX436" fmla="*/ 3627189 w 7244952"/>
              <a:gd name="connsiteY436" fmla="*/ 2322215 h 8181528"/>
              <a:gd name="connsiteX437" fmla="*/ 3591024 w 7244952"/>
              <a:gd name="connsiteY437" fmla="*/ 2282924 h 8181528"/>
              <a:gd name="connsiteX438" fmla="*/ 3532088 w 7244952"/>
              <a:gd name="connsiteY438" fmla="*/ 2327796 h 8181528"/>
              <a:gd name="connsiteX439" fmla="*/ 3470920 w 7244952"/>
              <a:gd name="connsiteY439" fmla="*/ 2340521 h 8181528"/>
              <a:gd name="connsiteX440" fmla="*/ 3384525 w 7244952"/>
              <a:gd name="connsiteY440" fmla="*/ 2302346 h 8181528"/>
              <a:gd name="connsiteX441" fmla="*/ 3355727 w 7244952"/>
              <a:gd name="connsiteY441" fmla="*/ 2183358 h 8181528"/>
              <a:gd name="connsiteX442" fmla="*/ 3638798 w 7244952"/>
              <a:gd name="connsiteY442" fmla="*/ 2183358 h 8181528"/>
              <a:gd name="connsiteX443" fmla="*/ 3629422 w 7244952"/>
              <a:gd name="connsiteY443" fmla="*/ 2093615 h 8181528"/>
              <a:gd name="connsiteX444" fmla="*/ 3603972 w 7244952"/>
              <a:gd name="connsiteY444" fmla="*/ 2029321 h 8181528"/>
              <a:gd name="connsiteX445" fmla="*/ 3567807 w 7244952"/>
              <a:gd name="connsiteY445" fmla="*/ 1988914 h 8181528"/>
              <a:gd name="connsiteX446" fmla="*/ 3515345 w 7244952"/>
              <a:gd name="connsiteY446" fmla="*/ 1962795 h 8181528"/>
              <a:gd name="connsiteX447" fmla="*/ 3444131 w 7244952"/>
              <a:gd name="connsiteY447" fmla="*/ 1953419 h 8181528"/>
              <a:gd name="connsiteX448" fmla="*/ 3127424 w 7244952"/>
              <a:gd name="connsiteY448" fmla="*/ 1953419 h 8181528"/>
              <a:gd name="connsiteX449" fmla="*/ 3052861 w 7244952"/>
              <a:gd name="connsiteY449" fmla="*/ 1970385 h 8181528"/>
              <a:gd name="connsiteX450" fmla="*/ 2985889 w 7244952"/>
              <a:gd name="connsiteY450" fmla="*/ 2025749 h 8181528"/>
              <a:gd name="connsiteX451" fmla="*/ 2980085 w 7244952"/>
              <a:gd name="connsiteY451" fmla="*/ 2024410 h 8181528"/>
              <a:gd name="connsiteX452" fmla="*/ 2986335 w 7244952"/>
              <a:gd name="connsiteY452" fmla="*/ 1956991 h 8181528"/>
              <a:gd name="connsiteX453" fmla="*/ 2930078 w 7244952"/>
              <a:gd name="connsiteY453" fmla="*/ 1956991 h 8181528"/>
              <a:gd name="connsiteX454" fmla="*/ 2807742 w 7244952"/>
              <a:gd name="connsiteY454" fmla="*/ 1960563 h 8181528"/>
              <a:gd name="connsiteX455" fmla="*/ 2807742 w 7244952"/>
              <a:gd name="connsiteY455" fmla="*/ 1990924 h 8181528"/>
              <a:gd name="connsiteX456" fmla="*/ 2837879 w 7244952"/>
              <a:gd name="connsiteY456" fmla="*/ 2001416 h 8181528"/>
              <a:gd name="connsiteX457" fmla="*/ 2850827 w 7244952"/>
              <a:gd name="connsiteY457" fmla="*/ 2017043 h 8181528"/>
              <a:gd name="connsiteX458" fmla="*/ 2856185 w 7244952"/>
              <a:gd name="connsiteY458" fmla="*/ 2042492 h 8181528"/>
              <a:gd name="connsiteX459" fmla="*/ 2857301 w 7244952"/>
              <a:gd name="connsiteY459" fmla="*/ 2091382 h 8181528"/>
              <a:gd name="connsiteX460" fmla="*/ 2857301 w 7244952"/>
              <a:gd name="connsiteY460" fmla="*/ 2274888 h 8181528"/>
              <a:gd name="connsiteX461" fmla="*/ 2854399 w 7244952"/>
              <a:gd name="connsiteY461" fmla="*/ 2333377 h 8181528"/>
              <a:gd name="connsiteX462" fmla="*/ 2843237 w 7244952"/>
              <a:gd name="connsiteY462" fmla="*/ 2358827 h 8181528"/>
              <a:gd name="connsiteX463" fmla="*/ 2813546 w 7244952"/>
              <a:gd name="connsiteY463" fmla="*/ 2374007 h 8181528"/>
              <a:gd name="connsiteX464" fmla="*/ 2813546 w 7244952"/>
              <a:gd name="connsiteY464" fmla="*/ 2403475 h 8181528"/>
              <a:gd name="connsiteX465" fmla="*/ 3033663 w 7244952"/>
              <a:gd name="connsiteY465" fmla="*/ 2403475 h 8181528"/>
              <a:gd name="connsiteX466" fmla="*/ 3033663 w 7244952"/>
              <a:gd name="connsiteY466" fmla="*/ 2374007 h 8181528"/>
              <a:gd name="connsiteX467" fmla="*/ 3001962 w 7244952"/>
              <a:gd name="connsiteY467" fmla="*/ 2360389 h 8181528"/>
              <a:gd name="connsiteX468" fmla="*/ 2989461 w 7244952"/>
              <a:gd name="connsiteY468" fmla="*/ 2333824 h 8181528"/>
              <a:gd name="connsiteX469" fmla="*/ 2986335 w 7244952"/>
              <a:gd name="connsiteY469" fmla="*/ 2274441 h 8181528"/>
              <a:gd name="connsiteX470" fmla="*/ 2986335 w 7244952"/>
              <a:gd name="connsiteY470" fmla="*/ 2132013 h 8181528"/>
              <a:gd name="connsiteX471" fmla="*/ 2987675 w 7244952"/>
              <a:gd name="connsiteY471" fmla="*/ 2097187 h 8181528"/>
              <a:gd name="connsiteX472" fmla="*/ 2993256 w 7244952"/>
              <a:gd name="connsiteY472" fmla="*/ 2074193 h 8181528"/>
              <a:gd name="connsiteX473" fmla="*/ 3007543 w 7244952"/>
              <a:gd name="connsiteY473" fmla="*/ 2051869 h 8181528"/>
              <a:gd name="connsiteX474" fmla="*/ 3029421 w 7244952"/>
              <a:gd name="connsiteY474" fmla="*/ 2034902 h 8181528"/>
              <a:gd name="connsiteX475" fmla="*/ 3051075 w 7244952"/>
              <a:gd name="connsiteY475" fmla="*/ 2028875 h 8181528"/>
              <a:gd name="connsiteX476" fmla="*/ 3083892 w 7244952"/>
              <a:gd name="connsiteY476" fmla="*/ 2042716 h 8181528"/>
              <a:gd name="connsiteX477" fmla="*/ 3103761 w 7244952"/>
              <a:gd name="connsiteY477" fmla="*/ 2082453 h 8181528"/>
              <a:gd name="connsiteX478" fmla="*/ 3184574 w 7244952"/>
              <a:gd name="connsiteY478" fmla="*/ 2082453 h 8181528"/>
              <a:gd name="connsiteX479" fmla="*/ 3184574 w 7244952"/>
              <a:gd name="connsiteY479" fmla="*/ 1959223 h 8181528"/>
              <a:gd name="connsiteX480" fmla="*/ 3127424 w 7244952"/>
              <a:gd name="connsiteY480" fmla="*/ 1953419 h 8181528"/>
              <a:gd name="connsiteX481" fmla="*/ 1783060 w 7244952"/>
              <a:gd name="connsiteY481" fmla="*/ 1953419 h 8181528"/>
              <a:gd name="connsiteX482" fmla="*/ 1734616 w 7244952"/>
              <a:gd name="connsiteY482" fmla="*/ 1961679 h 8181528"/>
              <a:gd name="connsiteX483" fmla="*/ 1690638 w 7244952"/>
              <a:gd name="connsiteY483" fmla="*/ 1984003 h 8181528"/>
              <a:gd name="connsiteX484" fmla="*/ 1641971 w 7244952"/>
              <a:gd name="connsiteY484" fmla="*/ 2022624 h 8181528"/>
              <a:gd name="connsiteX485" fmla="*/ 1636613 w 7244952"/>
              <a:gd name="connsiteY485" fmla="*/ 2021284 h 8181528"/>
              <a:gd name="connsiteX486" fmla="*/ 1643310 w 7244952"/>
              <a:gd name="connsiteY486" fmla="*/ 1956991 h 8181528"/>
              <a:gd name="connsiteX487" fmla="*/ 1587053 w 7244952"/>
              <a:gd name="connsiteY487" fmla="*/ 1956991 h 8181528"/>
              <a:gd name="connsiteX488" fmla="*/ 1464717 w 7244952"/>
              <a:gd name="connsiteY488" fmla="*/ 1960563 h 8181528"/>
              <a:gd name="connsiteX489" fmla="*/ 1464717 w 7244952"/>
              <a:gd name="connsiteY489" fmla="*/ 1990924 h 8181528"/>
              <a:gd name="connsiteX490" fmla="*/ 1494854 w 7244952"/>
              <a:gd name="connsiteY490" fmla="*/ 2001416 h 8181528"/>
              <a:gd name="connsiteX491" fmla="*/ 1507802 w 7244952"/>
              <a:gd name="connsiteY491" fmla="*/ 2017043 h 8181528"/>
              <a:gd name="connsiteX492" fmla="*/ 1513160 w 7244952"/>
              <a:gd name="connsiteY492" fmla="*/ 2042492 h 8181528"/>
              <a:gd name="connsiteX493" fmla="*/ 1514277 w 7244952"/>
              <a:gd name="connsiteY493" fmla="*/ 2091382 h 8181528"/>
              <a:gd name="connsiteX494" fmla="*/ 1514277 w 7244952"/>
              <a:gd name="connsiteY494" fmla="*/ 2274888 h 8181528"/>
              <a:gd name="connsiteX495" fmla="*/ 1511374 w 7244952"/>
              <a:gd name="connsiteY495" fmla="*/ 2333377 h 8181528"/>
              <a:gd name="connsiteX496" fmla="*/ 1500212 w 7244952"/>
              <a:gd name="connsiteY496" fmla="*/ 2358827 h 8181528"/>
              <a:gd name="connsiteX497" fmla="*/ 1470521 w 7244952"/>
              <a:gd name="connsiteY497" fmla="*/ 2374007 h 8181528"/>
              <a:gd name="connsiteX498" fmla="*/ 1470521 w 7244952"/>
              <a:gd name="connsiteY498" fmla="*/ 2403475 h 8181528"/>
              <a:gd name="connsiteX499" fmla="*/ 1686173 w 7244952"/>
              <a:gd name="connsiteY499" fmla="*/ 2403475 h 8181528"/>
              <a:gd name="connsiteX500" fmla="*/ 1686173 w 7244952"/>
              <a:gd name="connsiteY500" fmla="*/ 2374007 h 8181528"/>
              <a:gd name="connsiteX501" fmla="*/ 1656928 w 7244952"/>
              <a:gd name="connsiteY501" fmla="*/ 2359496 h 8181528"/>
              <a:gd name="connsiteX502" fmla="*/ 1645989 w 7244952"/>
              <a:gd name="connsiteY502" fmla="*/ 2333377 h 8181528"/>
              <a:gd name="connsiteX503" fmla="*/ 1643310 w 7244952"/>
              <a:gd name="connsiteY503" fmla="*/ 2274441 h 8181528"/>
              <a:gd name="connsiteX504" fmla="*/ 1643310 w 7244952"/>
              <a:gd name="connsiteY504" fmla="*/ 2102545 h 8181528"/>
              <a:gd name="connsiteX505" fmla="*/ 1655812 w 7244952"/>
              <a:gd name="connsiteY505" fmla="*/ 2063031 h 8181528"/>
              <a:gd name="connsiteX506" fmla="*/ 1686619 w 7244952"/>
              <a:gd name="connsiteY506" fmla="*/ 2034009 h 8181528"/>
              <a:gd name="connsiteX507" fmla="*/ 1721892 w 7244952"/>
              <a:gd name="connsiteY507" fmla="*/ 2023517 h 8181528"/>
              <a:gd name="connsiteX508" fmla="*/ 1742430 w 7244952"/>
              <a:gd name="connsiteY508" fmla="*/ 2026196 h 8181528"/>
              <a:gd name="connsiteX509" fmla="*/ 1756718 w 7244952"/>
              <a:gd name="connsiteY509" fmla="*/ 2034456 h 8181528"/>
              <a:gd name="connsiteX510" fmla="*/ 1768103 w 7244952"/>
              <a:gd name="connsiteY510" fmla="*/ 2048743 h 8181528"/>
              <a:gd name="connsiteX511" fmla="*/ 1776139 w 7244952"/>
              <a:gd name="connsiteY511" fmla="*/ 2070398 h 8181528"/>
              <a:gd name="connsiteX512" fmla="*/ 1780381 w 7244952"/>
              <a:gd name="connsiteY512" fmla="*/ 2103661 h 8181528"/>
              <a:gd name="connsiteX513" fmla="*/ 1781721 w 7244952"/>
              <a:gd name="connsiteY513" fmla="*/ 2155676 h 8181528"/>
              <a:gd name="connsiteX514" fmla="*/ 1781721 w 7244952"/>
              <a:gd name="connsiteY514" fmla="*/ 2274888 h 8181528"/>
              <a:gd name="connsiteX515" fmla="*/ 1778819 w 7244952"/>
              <a:gd name="connsiteY515" fmla="*/ 2333600 h 8181528"/>
              <a:gd name="connsiteX516" fmla="*/ 1767880 w 7244952"/>
              <a:gd name="connsiteY516" fmla="*/ 2359496 h 8181528"/>
              <a:gd name="connsiteX517" fmla="*/ 1739304 w 7244952"/>
              <a:gd name="connsiteY517" fmla="*/ 2374007 h 8181528"/>
              <a:gd name="connsiteX518" fmla="*/ 1739304 w 7244952"/>
              <a:gd name="connsiteY518" fmla="*/ 2403475 h 8181528"/>
              <a:gd name="connsiteX519" fmla="*/ 1955850 w 7244952"/>
              <a:gd name="connsiteY519" fmla="*/ 2403475 h 8181528"/>
              <a:gd name="connsiteX520" fmla="*/ 1955850 w 7244952"/>
              <a:gd name="connsiteY520" fmla="*/ 2374007 h 8181528"/>
              <a:gd name="connsiteX521" fmla="*/ 1935311 w 7244952"/>
              <a:gd name="connsiteY521" fmla="*/ 2366417 h 8181528"/>
              <a:gd name="connsiteX522" fmla="*/ 1922140 w 7244952"/>
              <a:gd name="connsiteY522" fmla="*/ 2355478 h 8181528"/>
              <a:gd name="connsiteX523" fmla="*/ 1914773 w 7244952"/>
              <a:gd name="connsiteY523" fmla="*/ 2338735 h 8181528"/>
              <a:gd name="connsiteX524" fmla="*/ 1911424 w 7244952"/>
              <a:gd name="connsiteY524" fmla="*/ 2311276 h 8181528"/>
              <a:gd name="connsiteX525" fmla="*/ 1910755 w 7244952"/>
              <a:gd name="connsiteY525" fmla="*/ 2274441 h 8181528"/>
              <a:gd name="connsiteX526" fmla="*/ 1910755 w 7244952"/>
              <a:gd name="connsiteY526" fmla="*/ 2111028 h 8181528"/>
              <a:gd name="connsiteX527" fmla="*/ 1904281 w 7244952"/>
              <a:gd name="connsiteY527" fmla="*/ 2043609 h 8181528"/>
              <a:gd name="connsiteX528" fmla="*/ 1882849 w 7244952"/>
              <a:gd name="connsiteY528" fmla="*/ 1994495 h 8181528"/>
              <a:gd name="connsiteX529" fmla="*/ 1843782 w 7244952"/>
              <a:gd name="connsiteY529" fmla="*/ 1963911 h 8181528"/>
              <a:gd name="connsiteX530" fmla="*/ 1783060 w 7244952"/>
              <a:gd name="connsiteY530" fmla="*/ 1953419 h 8181528"/>
              <a:gd name="connsiteX531" fmla="*/ 1170335 w 7244952"/>
              <a:gd name="connsiteY531" fmla="*/ 1953419 h 8181528"/>
              <a:gd name="connsiteX532" fmla="*/ 1081707 w 7244952"/>
              <a:gd name="connsiteY532" fmla="*/ 1967037 h 8181528"/>
              <a:gd name="connsiteX533" fmla="*/ 1011386 w 7244952"/>
              <a:gd name="connsiteY533" fmla="*/ 2009229 h 8181528"/>
              <a:gd name="connsiteX534" fmla="*/ 965398 w 7244952"/>
              <a:gd name="connsiteY534" fmla="*/ 2081560 h 8181528"/>
              <a:gd name="connsiteX535" fmla="*/ 948878 w 7244952"/>
              <a:gd name="connsiteY535" fmla="*/ 2185144 h 8181528"/>
              <a:gd name="connsiteX536" fmla="*/ 975667 w 7244952"/>
              <a:gd name="connsiteY536" fmla="*/ 2313955 h 8181528"/>
              <a:gd name="connsiteX537" fmla="*/ 1050007 w 7244952"/>
              <a:gd name="connsiteY537" fmla="*/ 2387625 h 8181528"/>
              <a:gd name="connsiteX538" fmla="*/ 1163191 w 7244952"/>
              <a:gd name="connsiteY538" fmla="*/ 2410619 h 8181528"/>
              <a:gd name="connsiteX539" fmla="*/ 1283295 w 7244952"/>
              <a:gd name="connsiteY539" fmla="*/ 2385169 h 8181528"/>
              <a:gd name="connsiteX540" fmla="*/ 1360984 w 7244952"/>
              <a:gd name="connsiteY540" fmla="*/ 2307258 h 8181528"/>
              <a:gd name="connsiteX541" fmla="*/ 1388219 w 7244952"/>
              <a:gd name="connsiteY541" fmla="*/ 2177108 h 8181528"/>
              <a:gd name="connsiteX542" fmla="*/ 1333301 w 7244952"/>
              <a:gd name="connsiteY542" fmla="*/ 2010346 h 8181528"/>
              <a:gd name="connsiteX543" fmla="*/ 1170335 w 7244952"/>
              <a:gd name="connsiteY543" fmla="*/ 1953419 h 8181528"/>
              <a:gd name="connsiteX544" fmla="*/ 2516336 w 7244952"/>
              <a:gd name="connsiteY544" fmla="*/ 1786880 h 8181528"/>
              <a:gd name="connsiteX545" fmla="*/ 2407617 w 7244952"/>
              <a:gd name="connsiteY545" fmla="*/ 1804516 h 8181528"/>
              <a:gd name="connsiteX546" fmla="*/ 2316534 w 7244952"/>
              <a:gd name="connsiteY546" fmla="*/ 1860773 h 8181528"/>
              <a:gd name="connsiteX547" fmla="*/ 2253357 w 7244952"/>
              <a:gd name="connsiteY547" fmla="*/ 1961009 h 8181528"/>
              <a:gd name="connsiteX548" fmla="*/ 2230586 w 7244952"/>
              <a:gd name="connsiteY548" fmla="*/ 2103884 h 8181528"/>
              <a:gd name="connsiteX549" fmla="*/ 2294657 w 7244952"/>
              <a:gd name="connsiteY549" fmla="*/ 2334493 h 8181528"/>
              <a:gd name="connsiteX550" fmla="*/ 2489101 w 7244952"/>
              <a:gd name="connsiteY550" fmla="*/ 2410619 h 8181528"/>
              <a:gd name="connsiteX551" fmla="*/ 2610991 w 7244952"/>
              <a:gd name="connsiteY551" fmla="*/ 2378026 h 8181528"/>
              <a:gd name="connsiteX552" fmla="*/ 2641352 w 7244952"/>
              <a:gd name="connsiteY552" fmla="*/ 2410172 h 8181528"/>
              <a:gd name="connsiteX553" fmla="*/ 2705645 w 7244952"/>
              <a:gd name="connsiteY553" fmla="*/ 2396778 h 8181528"/>
              <a:gd name="connsiteX554" fmla="*/ 2705645 w 7244952"/>
              <a:gd name="connsiteY554" fmla="*/ 2228453 h 8181528"/>
              <a:gd name="connsiteX555" fmla="*/ 2708548 w 7244952"/>
              <a:gd name="connsiteY555" fmla="*/ 2188939 h 8181528"/>
              <a:gd name="connsiteX556" fmla="*/ 2719486 w 7244952"/>
              <a:gd name="connsiteY556" fmla="*/ 2166392 h 8181528"/>
              <a:gd name="connsiteX557" fmla="*/ 2749848 w 7244952"/>
              <a:gd name="connsiteY557" fmla="*/ 2151212 h 8181528"/>
              <a:gd name="connsiteX558" fmla="*/ 2749848 w 7244952"/>
              <a:gd name="connsiteY558" fmla="*/ 2121744 h 8181528"/>
              <a:gd name="connsiteX559" fmla="*/ 2521248 w 7244952"/>
              <a:gd name="connsiteY559" fmla="*/ 2121744 h 8181528"/>
              <a:gd name="connsiteX560" fmla="*/ 2521248 w 7244952"/>
              <a:gd name="connsiteY560" fmla="*/ 2151212 h 8181528"/>
              <a:gd name="connsiteX561" fmla="*/ 2548036 w 7244952"/>
              <a:gd name="connsiteY561" fmla="*/ 2161481 h 8181528"/>
              <a:gd name="connsiteX562" fmla="*/ 2560315 w 7244952"/>
              <a:gd name="connsiteY562" fmla="*/ 2173089 h 8181528"/>
              <a:gd name="connsiteX563" fmla="*/ 2567235 w 7244952"/>
              <a:gd name="connsiteY563" fmla="*/ 2194744 h 8181528"/>
              <a:gd name="connsiteX564" fmla="*/ 2569468 w 7244952"/>
              <a:gd name="connsiteY564" fmla="*/ 2243187 h 8181528"/>
              <a:gd name="connsiteX565" fmla="*/ 2569468 w 7244952"/>
              <a:gd name="connsiteY565" fmla="*/ 2260154 h 8181528"/>
              <a:gd name="connsiteX566" fmla="*/ 2550715 w 7244952"/>
              <a:gd name="connsiteY566" fmla="*/ 2334940 h 8181528"/>
              <a:gd name="connsiteX567" fmla="*/ 2492673 w 7244952"/>
              <a:gd name="connsiteY567" fmla="*/ 2358380 h 8181528"/>
              <a:gd name="connsiteX568" fmla="*/ 2425923 w 7244952"/>
              <a:gd name="connsiteY568" fmla="*/ 2326680 h 8181528"/>
              <a:gd name="connsiteX569" fmla="*/ 2385739 w 7244952"/>
              <a:gd name="connsiteY569" fmla="*/ 2237606 h 8181528"/>
              <a:gd name="connsiteX570" fmla="*/ 2372568 w 7244952"/>
              <a:gd name="connsiteY570" fmla="*/ 2102098 h 8181528"/>
              <a:gd name="connsiteX571" fmla="*/ 2392214 w 7244952"/>
              <a:gd name="connsiteY571" fmla="*/ 1952303 h 8181528"/>
              <a:gd name="connsiteX572" fmla="*/ 2445792 w 7244952"/>
              <a:gd name="connsiteY572" fmla="*/ 1866131 h 8181528"/>
              <a:gd name="connsiteX573" fmla="*/ 2523926 w 7244952"/>
              <a:gd name="connsiteY573" fmla="*/ 1839119 h 8181528"/>
              <a:gd name="connsiteX574" fmla="*/ 2577281 w 7244952"/>
              <a:gd name="connsiteY574" fmla="*/ 1849165 h 8181528"/>
              <a:gd name="connsiteX575" fmla="*/ 2611214 w 7244952"/>
              <a:gd name="connsiteY575" fmla="*/ 1879526 h 8181528"/>
              <a:gd name="connsiteX576" fmla="*/ 2634655 w 7244952"/>
              <a:gd name="connsiteY576" fmla="*/ 1937345 h 8181528"/>
              <a:gd name="connsiteX577" fmla="*/ 2695823 w 7244952"/>
              <a:gd name="connsiteY577" fmla="*/ 1937345 h 8181528"/>
              <a:gd name="connsiteX578" fmla="*/ 2695823 w 7244952"/>
              <a:gd name="connsiteY578" fmla="*/ 1810544 h 8181528"/>
              <a:gd name="connsiteX579" fmla="*/ 2516336 w 7244952"/>
              <a:gd name="connsiteY579" fmla="*/ 1786880 h 8181528"/>
              <a:gd name="connsiteX580" fmla="*/ 6280647 w 7244952"/>
              <a:gd name="connsiteY580" fmla="*/ 1327151 h 8181528"/>
              <a:gd name="connsiteX581" fmla="*/ 6331546 w 7244952"/>
              <a:gd name="connsiteY581" fmla="*/ 1328937 h 8181528"/>
              <a:gd name="connsiteX582" fmla="*/ 6408341 w 7244952"/>
              <a:gd name="connsiteY582" fmla="*/ 1328937 h 8181528"/>
              <a:gd name="connsiteX583" fmla="*/ 6452543 w 7244952"/>
              <a:gd name="connsiteY583" fmla="*/ 1336081 h 8181528"/>
              <a:gd name="connsiteX584" fmla="*/ 6473528 w 7244952"/>
              <a:gd name="connsiteY584" fmla="*/ 1353940 h 8181528"/>
              <a:gd name="connsiteX585" fmla="*/ 6478886 w 7244952"/>
              <a:gd name="connsiteY585" fmla="*/ 1379836 h 8181528"/>
              <a:gd name="connsiteX586" fmla="*/ 6449641 w 7244952"/>
              <a:gd name="connsiteY586" fmla="*/ 1432521 h 8181528"/>
              <a:gd name="connsiteX587" fmla="*/ 6364139 w 7244952"/>
              <a:gd name="connsiteY587" fmla="*/ 1451274 h 8181528"/>
              <a:gd name="connsiteX588" fmla="*/ 6275959 w 7244952"/>
              <a:gd name="connsiteY588" fmla="*/ 1435870 h 8181528"/>
              <a:gd name="connsiteX589" fmla="*/ 6248054 w 7244952"/>
              <a:gd name="connsiteY589" fmla="*/ 1388319 h 8181528"/>
              <a:gd name="connsiteX590" fmla="*/ 6256314 w 7244952"/>
              <a:gd name="connsiteY590" fmla="*/ 1354387 h 8181528"/>
              <a:gd name="connsiteX591" fmla="*/ 6280647 w 7244952"/>
              <a:gd name="connsiteY591" fmla="*/ 1327151 h 8181528"/>
              <a:gd name="connsiteX592" fmla="*/ 4758135 w 7244952"/>
              <a:gd name="connsiteY592" fmla="*/ 1087835 h 8181528"/>
              <a:gd name="connsiteX593" fmla="*/ 4758135 w 7244952"/>
              <a:gd name="connsiteY593" fmla="*/ 1161952 h 8181528"/>
              <a:gd name="connsiteX594" fmla="*/ 4747419 w 7244952"/>
              <a:gd name="connsiteY594" fmla="*/ 1200796 h 8181528"/>
              <a:gd name="connsiteX595" fmla="*/ 4718398 w 7244952"/>
              <a:gd name="connsiteY595" fmla="*/ 1230041 h 8181528"/>
              <a:gd name="connsiteX596" fmla="*/ 4679554 w 7244952"/>
              <a:gd name="connsiteY596" fmla="*/ 1240980 h 8181528"/>
              <a:gd name="connsiteX597" fmla="*/ 4637584 w 7244952"/>
              <a:gd name="connsiteY597" fmla="*/ 1226469 h 8181528"/>
              <a:gd name="connsiteX598" fmla="*/ 4622404 w 7244952"/>
              <a:gd name="connsiteY598" fmla="*/ 1184276 h 8181528"/>
              <a:gd name="connsiteX599" fmla="*/ 4655667 w 7244952"/>
              <a:gd name="connsiteY599" fmla="*/ 1113732 h 8181528"/>
              <a:gd name="connsiteX600" fmla="*/ 4758135 w 7244952"/>
              <a:gd name="connsiteY600" fmla="*/ 1087835 h 8181528"/>
              <a:gd name="connsiteX601" fmla="*/ 2805510 w 7244952"/>
              <a:gd name="connsiteY601" fmla="*/ 1087835 h 8181528"/>
              <a:gd name="connsiteX602" fmla="*/ 2805510 w 7244952"/>
              <a:gd name="connsiteY602" fmla="*/ 1161952 h 8181528"/>
              <a:gd name="connsiteX603" fmla="*/ 2794794 w 7244952"/>
              <a:gd name="connsiteY603" fmla="*/ 1200796 h 8181528"/>
              <a:gd name="connsiteX604" fmla="*/ 2765773 w 7244952"/>
              <a:gd name="connsiteY604" fmla="*/ 1230041 h 8181528"/>
              <a:gd name="connsiteX605" fmla="*/ 2726929 w 7244952"/>
              <a:gd name="connsiteY605" fmla="*/ 1240980 h 8181528"/>
              <a:gd name="connsiteX606" fmla="*/ 2684959 w 7244952"/>
              <a:gd name="connsiteY606" fmla="*/ 1226469 h 8181528"/>
              <a:gd name="connsiteX607" fmla="*/ 2669779 w 7244952"/>
              <a:gd name="connsiteY607" fmla="*/ 1184276 h 8181528"/>
              <a:gd name="connsiteX608" fmla="*/ 2703042 w 7244952"/>
              <a:gd name="connsiteY608" fmla="*/ 1113732 h 8181528"/>
              <a:gd name="connsiteX609" fmla="*/ 2805510 w 7244952"/>
              <a:gd name="connsiteY609" fmla="*/ 1087835 h 8181528"/>
              <a:gd name="connsiteX610" fmla="*/ 3286820 w 7244952"/>
              <a:gd name="connsiteY610" fmla="*/ 918618 h 8181528"/>
              <a:gd name="connsiteX611" fmla="*/ 3346649 w 7244952"/>
              <a:gd name="connsiteY611" fmla="*/ 961927 h 8181528"/>
              <a:gd name="connsiteX612" fmla="*/ 3365848 w 7244952"/>
              <a:gd name="connsiteY612" fmla="*/ 1093193 h 8181528"/>
              <a:gd name="connsiteX613" fmla="*/ 3344193 w 7244952"/>
              <a:gd name="connsiteY613" fmla="*/ 1216200 h 8181528"/>
              <a:gd name="connsiteX614" fmla="*/ 3281463 w 7244952"/>
              <a:gd name="connsiteY614" fmla="*/ 1259285 h 8181528"/>
              <a:gd name="connsiteX615" fmla="*/ 3222750 w 7244952"/>
              <a:gd name="connsiteY615" fmla="*/ 1233166 h 8181528"/>
              <a:gd name="connsiteX616" fmla="*/ 3203774 w 7244952"/>
              <a:gd name="connsiteY616" fmla="*/ 1152129 h 8181528"/>
              <a:gd name="connsiteX617" fmla="*/ 3203774 w 7244952"/>
              <a:gd name="connsiteY617" fmla="*/ 999878 h 8181528"/>
              <a:gd name="connsiteX618" fmla="*/ 3216276 w 7244952"/>
              <a:gd name="connsiteY618" fmla="*/ 958132 h 8181528"/>
              <a:gd name="connsiteX619" fmla="*/ 3247976 w 7244952"/>
              <a:gd name="connsiteY619" fmla="*/ 928887 h 8181528"/>
              <a:gd name="connsiteX620" fmla="*/ 3286820 w 7244952"/>
              <a:gd name="connsiteY620" fmla="*/ 918618 h 8181528"/>
              <a:gd name="connsiteX621" fmla="*/ 3806975 w 7244952"/>
              <a:gd name="connsiteY621" fmla="*/ 894954 h 8181528"/>
              <a:gd name="connsiteX622" fmla="*/ 3869706 w 7244952"/>
              <a:gd name="connsiteY622" fmla="*/ 942505 h 8181528"/>
              <a:gd name="connsiteX623" fmla="*/ 3890914 w 7244952"/>
              <a:gd name="connsiteY623" fmla="*/ 1086050 h 8181528"/>
              <a:gd name="connsiteX624" fmla="*/ 3886895 w 7244952"/>
              <a:gd name="connsiteY624" fmla="*/ 1157710 h 8181528"/>
              <a:gd name="connsiteX625" fmla="*/ 3873277 w 7244952"/>
              <a:gd name="connsiteY625" fmla="*/ 1212405 h 8181528"/>
              <a:gd name="connsiteX626" fmla="*/ 3847828 w 7244952"/>
              <a:gd name="connsiteY626" fmla="*/ 1247230 h 8181528"/>
              <a:gd name="connsiteX627" fmla="*/ 3808314 w 7244952"/>
              <a:gd name="connsiteY627" fmla="*/ 1259285 h 8181528"/>
              <a:gd name="connsiteX628" fmla="*/ 3744243 w 7244952"/>
              <a:gd name="connsiteY628" fmla="*/ 1212181 h 8181528"/>
              <a:gd name="connsiteX629" fmla="*/ 3723035 w 7244952"/>
              <a:gd name="connsiteY629" fmla="*/ 1070423 h 8181528"/>
              <a:gd name="connsiteX630" fmla="*/ 3731519 w 7244952"/>
              <a:gd name="connsiteY630" fmla="*/ 971750 h 8181528"/>
              <a:gd name="connsiteX631" fmla="*/ 3758308 w 7244952"/>
              <a:gd name="connsiteY631" fmla="*/ 914153 h 8181528"/>
              <a:gd name="connsiteX632" fmla="*/ 3806975 w 7244952"/>
              <a:gd name="connsiteY632" fmla="*/ 894954 h 8181528"/>
              <a:gd name="connsiteX633" fmla="*/ 1682901 w 7244952"/>
              <a:gd name="connsiteY633" fmla="*/ 894954 h 8181528"/>
              <a:gd name="connsiteX634" fmla="*/ 1745632 w 7244952"/>
              <a:gd name="connsiteY634" fmla="*/ 942505 h 8181528"/>
              <a:gd name="connsiteX635" fmla="*/ 1766840 w 7244952"/>
              <a:gd name="connsiteY635" fmla="*/ 1086050 h 8181528"/>
              <a:gd name="connsiteX636" fmla="*/ 1762822 w 7244952"/>
              <a:gd name="connsiteY636" fmla="*/ 1157710 h 8181528"/>
              <a:gd name="connsiteX637" fmla="*/ 1749204 w 7244952"/>
              <a:gd name="connsiteY637" fmla="*/ 1212405 h 8181528"/>
              <a:gd name="connsiteX638" fmla="*/ 1723754 w 7244952"/>
              <a:gd name="connsiteY638" fmla="*/ 1247230 h 8181528"/>
              <a:gd name="connsiteX639" fmla="*/ 1684240 w 7244952"/>
              <a:gd name="connsiteY639" fmla="*/ 1259285 h 8181528"/>
              <a:gd name="connsiteX640" fmla="*/ 1620170 w 7244952"/>
              <a:gd name="connsiteY640" fmla="*/ 1212181 h 8181528"/>
              <a:gd name="connsiteX641" fmla="*/ 1598962 w 7244952"/>
              <a:gd name="connsiteY641" fmla="*/ 1070423 h 8181528"/>
              <a:gd name="connsiteX642" fmla="*/ 1607445 w 7244952"/>
              <a:gd name="connsiteY642" fmla="*/ 971750 h 8181528"/>
              <a:gd name="connsiteX643" fmla="*/ 1634234 w 7244952"/>
              <a:gd name="connsiteY643" fmla="*/ 914153 h 8181528"/>
              <a:gd name="connsiteX644" fmla="*/ 1682901 w 7244952"/>
              <a:gd name="connsiteY644" fmla="*/ 894954 h 8181528"/>
              <a:gd name="connsiteX645" fmla="*/ 6361461 w 7244952"/>
              <a:gd name="connsiteY645" fmla="*/ 894508 h 8181528"/>
              <a:gd name="connsiteX646" fmla="*/ 6409904 w 7244952"/>
              <a:gd name="connsiteY646" fmla="*/ 923306 h 8181528"/>
              <a:gd name="connsiteX647" fmla="*/ 6425754 w 7244952"/>
              <a:gd name="connsiteY647" fmla="*/ 1007022 h 8181528"/>
              <a:gd name="connsiteX648" fmla="*/ 6409458 w 7244952"/>
              <a:gd name="connsiteY648" fmla="*/ 1084710 h 8181528"/>
              <a:gd name="connsiteX649" fmla="*/ 6362354 w 7244952"/>
              <a:gd name="connsiteY649" fmla="*/ 1110160 h 8181528"/>
              <a:gd name="connsiteX650" fmla="*/ 6312571 w 7244952"/>
              <a:gd name="connsiteY650" fmla="*/ 1082701 h 8181528"/>
              <a:gd name="connsiteX651" fmla="*/ 6296720 w 7244952"/>
              <a:gd name="connsiteY651" fmla="*/ 998985 h 8181528"/>
              <a:gd name="connsiteX652" fmla="*/ 6312571 w 7244952"/>
              <a:gd name="connsiteY652" fmla="*/ 920181 h 8181528"/>
              <a:gd name="connsiteX653" fmla="*/ 6361461 w 7244952"/>
              <a:gd name="connsiteY653" fmla="*/ 894508 h 8181528"/>
              <a:gd name="connsiteX654" fmla="*/ 5445125 w 7244952"/>
              <a:gd name="connsiteY654" fmla="*/ 852091 h 8181528"/>
              <a:gd name="connsiteX655" fmla="*/ 5322342 w 7244952"/>
              <a:gd name="connsiteY655" fmla="*/ 855663 h 8181528"/>
              <a:gd name="connsiteX656" fmla="*/ 5322342 w 7244952"/>
              <a:gd name="connsiteY656" fmla="*/ 886023 h 8181528"/>
              <a:gd name="connsiteX657" fmla="*/ 5347121 w 7244952"/>
              <a:gd name="connsiteY657" fmla="*/ 893391 h 8181528"/>
              <a:gd name="connsiteX658" fmla="*/ 5362302 w 7244952"/>
              <a:gd name="connsiteY658" fmla="*/ 905669 h 8181528"/>
              <a:gd name="connsiteX659" fmla="*/ 5369892 w 7244952"/>
              <a:gd name="connsiteY659" fmla="*/ 927100 h 8181528"/>
              <a:gd name="connsiteX660" fmla="*/ 5371901 w 7244952"/>
              <a:gd name="connsiteY660" fmla="*/ 962372 h 8181528"/>
              <a:gd name="connsiteX661" fmla="*/ 5371901 w 7244952"/>
              <a:gd name="connsiteY661" fmla="*/ 1169988 h 8181528"/>
              <a:gd name="connsiteX662" fmla="*/ 5368999 w 7244952"/>
              <a:gd name="connsiteY662" fmla="*/ 1228477 h 8181528"/>
              <a:gd name="connsiteX663" fmla="*/ 5357837 w 7244952"/>
              <a:gd name="connsiteY663" fmla="*/ 1253927 h 8181528"/>
              <a:gd name="connsiteX664" fmla="*/ 5327699 w 7244952"/>
              <a:gd name="connsiteY664" fmla="*/ 1269107 h 8181528"/>
              <a:gd name="connsiteX665" fmla="*/ 5327699 w 7244952"/>
              <a:gd name="connsiteY665" fmla="*/ 1298575 h 8181528"/>
              <a:gd name="connsiteX666" fmla="*/ 5545584 w 7244952"/>
              <a:gd name="connsiteY666" fmla="*/ 1298575 h 8181528"/>
              <a:gd name="connsiteX667" fmla="*/ 5545584 w 7244952"/>
              <a:gd name="connsiteY667" fmla="*/ 1269107 h 8181528"/>
              <a:gd name="connsiteX668" fmla="*/ 5525492 w 7244952"/>
              <a:gd name="connsiteY668" fmla="*/ 1261963 h 8181528"/>
              <a:gd name="connsiteX669" fmla="*/ 5513883 w 7244952"/>
              <a:gd name="connsiteY669" fmla="*/ 1253034 h 8181528"/>
              <a:gd name="connsiteX670" fmla="*/ 5507409 w 7244952"/>
              <a:gd name="connsiteY670" fmla="*/ 1242318 h 8181528"/>
              <a:gd name="connsiteX671" fmla="*/ 5503614 w 7244952"/>
              <a:gd name="connsiteY671" fmla="*/ 1229147 h 8181528"/>
              <a:gd name="connsiteX672" fmla="*/ 5501605 w 7244952"/>
              <a:gd name="connsiteY672" fmla="*/ 1208162 h 8181528"/>
              <a:gd name="connsiteX673" fmla="*/ 5500935 w 7244952"/>
              <a:gd name="connsiteY673" fmla="*/ 1169541 h 8181528"/>
              <a:gd name="connsiteX674" fmla="*/ 5500935 w 7244952"/>
              <a:gd name="connsiteY674" fmla="*/ 852091 h 8181528"/>
              <a:gd name="connsiteX675" fmla="*/ 6362799 w 7244952"/>
              <a:gd name="connsiteY675" fmla="*/ 848519 h 8181528"/>
              <a:gd name="connsiteX676" fmla="*/ 6286227 w 7244952"/>
              <a:gd name="connsiteY676" fmla="*/ 857225 h 8181528"/>
              <a:gd name="connsiteX677" fmla="*/ 6224612 w 7244952"/>
              <a:gd name="connsiteY677" fmla="*/ 884684 h 8181528"/>
              <a:gd name="connsiteX678" fmla="*/ 6183536 w 7244952"/>
              <a:gd name="connsiteY678" fmla="*/ 933128 h 8181528"/>
              <a:gd name="connsiteX679" fmla="*/ 6168578 w 7244952"/>
              <a:gd name="connsiteY679" fmla="*/ 1004342 h 8181528"/>
              <a:gd name="connsiteX680" fmla="*/ 6186438 w 7244952"/>
              <a:gd name="connsiteY680" fmla="*/ 1079128 h 8181528"/>
              <a:gd name="connsiteX681" fmla="*/ 6239123 w 7244952"/>
              <a:gd name="connsiteY681" fmla="*/ 1130697 h 8181528"/>
              <a:gd name="connsiteX682" fmla="*/ 6201395 w 7244952"/>
              <a:gd name="connsiteY682" fmla="*/ 1163514 h 8181528"/>
              <a:gd name="connsiteX683" fmla="*/ 6178178 w 7244952"/>
              <a:gd name="connsiteY683" fmla="*/ 1196777 h 8181528"/>
              <a:gd name="connsiteX684" fmla="*/ 6169471 w 7244952"/>
              <a:gd name="connsiteY684" fmla="*/ 1236067 h 8181528"/>
              <a:gd name="connsiteX685" fmla="*/ 6177954 w 7244952"/>
              <a:gd name="connsiteY685" fmla="*/ 1278930 h 8181528"/>
              <a:gd name="connsiteX686" fmla="*/ 6205190 w 7244952"/>
              <a:gd name="connsiteY686" fmla="*/ 1309737 h 8181528"/>
              <a:gd name="connsiteX687" fmla="*/ 6160095 w 7244952"/>
              <a:gd name="connsiteY687" fmla="*/ 1346349 h 8181528"/>
              <a:gd name="connsiteX688" fmla="*/ 6144022 w 7244952"/>
              <a:gd name="connsiteY688" fmla="*/ 1393230 h 8181528"/>
              <a:gd name="connsiteX689" fmla="*/ 6159872 w 7244952"/>
              <a:gd name="connsiteY689" fmla="*/ 1445468 h 8181528"/>
              <a:gd name="connsiteX690" fmla="*/ 6204744 w 7244952"/>
              <a:gd name="connsiteY690" fmla="*/ 1477839 h 8181528"/>
              <a:gd name="connsiteX691" fmla="*/ 6274842 w 7244952"/>
              <a:gd name="connsiteY691" fmla="*/ 1494135 h 8181528"/>
              <a:gd name="connsiteX692" fmla="*/ 6366371 w 7244952"/>
              <a:gd name="connsiteY692" fmla="*/ 1498600 h 8181528"/>
              <a:gd name="connsiteX693" fmla="*/ 6486029 w 7244952"/>
              <a:gd name="connsiteY693" fmla="*/ 1480517 h 8181528"/>
              <a:gd name="connsiteX694" fmla="*/ 6563494 w 7244952"/>
              <a:gd name="connsiteY694" fmla="*/ 1428056 h 8181528"/>
              <a:gd name="connsiteX695" fmla="*/ 6590506 w 7244952"/>
              <a:gd name="connsiteY695" fmla="*/ 1345902 h 8181528"/>
              <a:gd name="connsiteX696" fmla="*/ 6553448 w 7244952"/>
              <a:gd name="connsiteY696" fmla="*/ 1255713 h 8181528"/>
              <a:gd name="connsiteX697" fmla="*/ 6441827 w 7244952"/>
              <a:gd name="connsiteY697" fmla="*/ 1226691 h 8181528"/>
              <a:gd name="connsiteX698" fmla="*/ 6331099 w 7244952"/>
              <a:gd name="connsiteY698" fmla="*/ 1226691 h 8181528"/>
              <a:gd name="connsiteX699" fmla="*/ 6293147 w 7244952"/>
              <a:gd name="connsiteY699" fmla="*/ 1222896 h 8181528"/>
              <a:gd name="connsiteX700" fmla="*/ 6274172 w 7244952"/>
              <a:gd name="connsiteY700" fmla="*/ 1211957 h 8181528"/>
              <a:gd name="connsiteX701" fmla="*/ 6268591 w 7244952"/>
              <a:gd name="connsiteY701" fmla="*/ 1191419 h 8181528"/>
              <a:gd name="connsiteX702" fmla="*/ 6290915 w 7244952"/>
              <a:gd name="connsiteY702" fmla="*/ 1148110 h 8181528"/>
              <a:gd name="connsiteX703" fmla="*/ 6363246 w 7244952"/>
              <a:gd name="connsiteY703" fmla="*/ 1156147 h 8181528"/>
              <a:gd name="connsiteX704" fmla="*/ 6501879 w 7244952"/>
              <a:gd name="connsiteY704" fmla="*/ 1115963 h 8181528"/>
              <a:gd name="connsiteX705" fmla="*/ 6548983 w 7244952"/>
              <a:gd name="connsiteY705" fmla="*/ 998091 h 8181528"/>
              <a:gd name="connsiteX706" fmla="*/ 6540723 w 7244952"/>
              <a:gd name="connsiteY706" fmla="*/ 946076 h 8181528"/>
              <a:gd name="connsiteX707" fmla="*/ 6519962 w 7244952"/>
              <a:gd name="connsiteY707" fmla="*/ 911920 h 8181528"/>
              <a:gd name="connsiteX708" fmla="*/ 6521747 w 7244952"/>
              <a:gd name="connsiteY708" fmla="*/ 907008 h 8181528"/>
              <a:gd name="connsiteX709" fmla="*/ 6598096 w 7244952"/>
              <a:gd name="connsiteY709" fmla="*/ 915491 h 8181528"/>
              <a:gd name="connsiteX710" fmla="*/ 6598096 w 7244952"/>
              <a:gd name="connsiteY710" fmla="*/ 855663 h 8181528"/>
              <a:gd name="connsiteX711" fmla="*/ 6436915 w 7244952"/>
              <a:gd name="connsiteY711" fmla="*/ 855663 h 8181528"/>
              <a:gd name="connsiteX712" fmla="*/ 6402983 w 7244952"/>
              <a:gd name="connsiteY712" fmla="*/ 850751 h 8181528"/>
              <a:gd name="connsiteX713" fmla="*/ 6362799 w 7244952"/>
              <a:gd name="connsiteY713" fmla="*/ 848519 h 8181528"/>
              <a:gd name="connsiteX714" fmla="*/ 5926435 w 7244952"/>
              <a:gd name="connsiteY714" fmla="*/ 848519 h 8181528"/>
              <a:gd name="connsiteX715" fmla="*/ 5877991 w 7244952"/>
              <a:gd name="connsiteY715" fmla="*/ 856779 h 8181528"/>
              <a:gd name="connsiteX716" fmla="*/ 5834013 w 7244952"/>
              <a:gd name="connsiteY716" fmla="*/ 879103 h 8181528"/>
              <a:gd name="connsiteX717" fmla="*/ 5785346 w 7244952"/>
              <a:gd name="connsiteY717" fmla="*/ 917724 h 8181528"/>
              <a:gd name="connsiteX718" fmla="*/ 5779988 w 7244952"/>
              <a:gd name="connsiteY718" fmla="*/ 916384 h 8181528"/>
              <a:gd name="connsiteX719" fmla="*/ 5786685 w 7244952"/>
              <a:gd name="connsiteY719" fmla="*/ 852091 h 8181528"/>
              <a:gd name="connsiteX720" fmla="*/ 5730428 w 7244952"/>
              <a:gd name="connsiteY720" fmla="*/ 852091 h 8181528"/>
              <a:gd name="connsiteX721" fmla="*/ 5608092 w 7244952"/>
              <a:gd name="connsiteY721" fmla="*/ 855663 h 8181528"/>
              <a:gd name="connsiteX722" fmla="*/ 5608092 w 7244952"/>
              <a:gd name="connsiteY722" fmla="*/ 886023 h 8181528"/>
              <a:gd name="connsiteX723" fmla="*/ 5638229 w 7244952"/>
              <a:gd name="connsiteY723" fmla="*/ 896516 h 8181528"/>
              <a:gd name="connsiteX724" fmla="*/ 5651177 w 7244952"/>
              <a:gd name="connsiteY724" fmla="*/ 912143 h 8181528"/>
              <a:gd name="connsiteX725" fmla="*/ 5656535 w 7244952"/>
              <a:gd name="connsiteY725" fmla="*/ 937592 h 8181528"/>
              <a:gd name="connsiteX726" fmla="*/ 5657651 w 7244952"/>
              <a:gd name="connsiteY726" fmla="*/ 986482 h 8181528"/>
              <a:gd name="connsiteX727" fmla="*/ 5657651 w 7244952"/>
              <a:gd name="connsiteY727" fmla="*/ 1169988 h 8181528"/>
              <a:gd name="connsiteX728" fmla="*/ 5654749 w 7244952"/>
              <a:gd name="connsiteY728" fmla="*/ 1228477 h 8181528"/>
              <a:gd name="connsiteX729" fmla="*/ 5643587 w 7244952"/>
              <a:gd name="connsiteY729" fmla="*/ 1253927 h 8181528"/>
              <a:gd name="connsiteX730" fmla="*/ 5613896 w 7244952"/>
              <a:gd name="connsiteY730" fmla="*/ 1269107 h 8181528"/>
              <a:gd name="connsiteX731" fmla="*/ 5613896 w 7244952"/>
              <a:gd name="connsiteY731" fmla="*/ 1298575 h 8181528"/>
              <a:gd name="connsiteX732" fmla="*/ 5829548 w 7244952"/>
              <a:gd name="connsiteY732" fmla="*/ 1298575 h 8181528"/>
              <a:gd name="connsiteX733" fmla="*/ 5829548 w 7244952"/>
              <a:gd name="connsiteY733" fmla="*/ 1269107 h 8181528"/>
              <a:gd name="connsiteX734" fmla="*/ 5800303 w 7244952"/>
              <a:gd name="connsiteY734" fmla="*/ 1254596 h 8181528"/>
              <a:gd name="connsiteX735" fmla="*/ 5789364 w 7244952"/>
              <a:gd name="connsiteY735" fmla="*/ 1228477 h 8181528"/>
              <a:gd name="connsiteX736" fmla="*/ 5786685 w 7244952"/>
              <a:gd name="connsiteY736" fmla="*/ 1169541 h 8181528"/>
              <a:gd name="connsiteX737" fmla="*/ 5786685 w 7244952"/>
              <a:gd name="connsiteY737" fmla="*/ 997645 h 8181528"/>
              <a:gd name="connsiteX738" fmla="*/ 5799187 w 7244952"/>
              <a:gd name="connsiteY738" fmla="*/ 958131 h 8181528"/>
              <a:gd name="connsiteX739" fmla="*/ 5829994 w 7244952"/>
              <a:gd name="connsiteY739" fmla="*/ 929109 h 8181528"/>
              <a:gd name="connsiteX740" fmla="*/ 5865267 w 7244952"/>
              <a:gd name="connsiteY740" fmla="*/ 918617 h 8181528"/>
              <a:gd name="connsiteX741" fmla="*/ 5885805 w 7244952"/>
              <a:gd name="connsiteY741" fmla="*/ 921296 h 8181528"/>
              <a:gd name="connsiteX742" fmla="*/ 5900092 w 7244952"/>
              <a:gd name="connsiteY742" fmla="*/ 929556 h 8181528"/>
              <a:gd name="connsiteX743" fmla="*/ 5911478 w 7244952"/>
              <a:gd name="connsiteY743" fmla="*/ 943843 h 8181528"/>
              <a:gd name="connsiteX744" fmla="*/ 5919514 w 7244952"/>
              <a:gd name="connsiteY744" fmla="*/ 965498 h 8181528"/>
              <a:gd name="connsiteX745" fmla="*/ 5923756 w 7244952"/>
              <a:gd name="connsiteY745" fmla="*/ 998761 h 8181528"/>
              <a:gd name="connsiteX746" fmla="*/ 5925096 w 7244952"/>
              <a:gd name="connsiteY746" fmla="*/ 1050776 h 8181528"/>
              <a:gd name="connsiteX747" fmla="*/ 5925096 w 7244952"/>
              <a:gd name="connsiteY747" fmla="*/ 1169988 h 8181528"/>
              <a:gd name="connsiteX748" fmla="*/ 5922193 w 7244952"/>
              <a:gd name="connsiteY748" fmla="*/ 1228700 h 8181528"/>
              <a:gd name="connsiteX749" fmla="*/ 5911254 w 7244952"/>
              <a:gd name="connsiteY749" fmla="*/ 1254596 h 8181528"/>
              <a:gd name="connsiteX750" fmla="*/ 5882679 w 7244952"/>
              <a:gd name="connsiteY750" fmla="*/ 1269107 h 8181528"/>
              <a:gd name="connsiteX751" fmla="*/ 5882679 w 7244952"/>
              <a:gd name="connsiteY751" fmla="*/ 1298575 h 8181528"/>
              <a:gd name="connsiteX752" fmla="*/ 6099224 w 7244952"/>
              <a:gd name="connsiteY752" fmla="*/ 1298575 h 8181528"/>
              <a:gd name="connsiteX753" fmla="*/ 6099224 w 7244952"/>
              <a:gd name="connsiteY753" fmla="*/ 1269107 h 8181528"/>
              <a:gd name="connsiteX754" fmla="*/ 6078686 w 7244952"/>
              <a:gd name="connsiteY754" fmla="*/ 1261517 h 8181528"/>
              <a:gd name="connsiteX755" fmla="*/ 6065515 w 7244952"/>
              <a:gd name="connsiteY755" fmla="*/ 1250578 h 8181528"/>
              <a:gd name="connsiteX756" fmla="*/ 6058148 w 7244952"/>
              <a:gd name="connsiteY756" fmla="*/ 1233835 h 8181528"/>
              <a:gd name="connsiteX757" fmla="*/ 6054799 w 7244952"/>
              <a:gd name="connsiteY757" fmla="*/ 1206376 h 8181528"/>
              <a:gd name="connsiteX758" fmla="*/ 6054129 w 7244952"/>
              <a:gd name="connsiteY758" fmla="*/ 1169541 h 8181528"/>
              <a:gd name="connsiteX759" fmla="*/ 6054129 w 7244952"/>
              <a:gd name="connsiteY759" fmla="*/ 1006128 h 8181528"/>
              <a:gd name="connsiteX760" fmla="*/ 6047655 w 7244952"/>
              <a:gd name="connsiteY760" fmla="*/ 938709 h 8181528"/>
              <a:gd name="connsiteX761" fmla="*/ 6026224 w 7244952"/>
              <a:gd name="connsiteY761" fmla="*/ 889595 h 8181528"/>
              <a:gd name="connsiteX762" fmla="*/ 5987157 w 7244952"/>
              <a:gd name="connsiteY762" fmla="*/ 859011 h 8181528"/>
              <a:gd name="connsiteX763" fmla="*/ 5926435 w 7244952"/>
              <a:gd name="connsiteY763" fmla="*/ 848519 h 8181528"/>
              <a:gd name="connsiteX764" fmla="*/ 4735810 w 7244952"/>
              <a:gd name="connsiteY764" fmla="*/ 848519 h 8181528"/>
              <a:gd name="connsiteX765" fmla="*/ 4693840 w 7244952"/>
              <a:gd name="connsiteY765" fmla="*/ 851198 h 8181528"/>
              <a:gd name="connsiteX766" fmla="*/ 4646290 w 7244952"/>
              <a:gd name="connsiteY766" fmla="*/ 860351 h 8181528"/>
              <a:gd name="connsiteX767" fmla="*/ 4592488 w 7244952"/>
              <a:gd name="connsiteY767" fmla="*/ 876647 h 8181528"/>
              <a:gd name="connsiteX768" fmla="*/ 4524176 w 7244952"/>
              <a:gd name="connsiteY768" fmla="*/ 904776 h 8181528"/>
              <a:gd name="connsiteX769" fmla="*/ 4524176 w 7244952"/>
              <a:gd name="connsiteY769" fmla="*/ 986036 h 8181528"/>
              <a:gd name="connsiteX770" fmla="*/ 4608562 w 7244952"/>
              <a:gd name="connsiteY770" fmla="*/ 986036 h 8181528"/>
              <a:gd name="connsiteX771" fmla="*/ 4626421 w 7244952"/>
              <a:gd name="connsiteY771" fmla="*/ 930895 h 8181528"/>
              <a:gd name="connsiteX772" fmla="*/ 4653433 w 7244952"/>
              <a:gd name="connsiteY772" fmla="*/ 903883 h 8181528"/>
              <a:gd name="connsiteX773" fmla="*/ 4688929 w 7244952"/>
              <a:gd name="connsiteY773" fmla="*/ 896739 h 8181528"/>
              <a:gd name="connsiteX774" fmla="*/ 4724201 w 7244952"/>
              <a:gd name="connsiteY774" fmla="*/ 905892 h 8181528"/>
              <a:gd name="connsiteX775" fmla="*/ 4748311 w 7244952"/>
              <a:gd name="connsiteY775" fmla="*/ 937592 h 8181528"/>
              <a:gd name="connsiteX776" fmla="*/ 4757688 w 7244952"/>
              <a:gd name="connsiteY776" fmla="*/ 1001663 h 8181528"/>
              <a:gd name="connsiteX777" fmla="*/ 4757688 w 7244952"/>
              <a:gd name="connsiteY777" fmla="*/ 1044079 h 8181528"/>
              <a:gd name="connsiteX778" fmla="*/ 4561904 w 7244952"/>
              <a:gd name="connsiteY778" fmla="*/ 1091630 h 8181528"/>
              <a:gd name="connsiteX779" fmla="*/ 4497387 w 7244952"/>
              <a:gd name="connsiteY779" fmla="*/ 1194991 h 8181528"/>
              <a:gd name="connsiteX780" fmla="*/ 4511898 w 7244952"/>
              <a:gd name="connsiteY780" fmla="*/ 1252587 h 8181528"/>
              <a:gd name="connsiteX781" fmla="*/ 4554760 w 7244952"/>
              <a:gd name="connsiteY781" fmla="*/ 1291655 h 8181528"/>
              <a:gd name="connsiteX782" fmla="*/ 4621510 w 7244952"/>
              <a:gd name="connsiteY782" fmla="*/ 1305719 h 8181528"/>
              <a:gd name="connsiteX783" fmla="*/ 4694957 w 7244952"/>
              <a:gd name="connsiteY783" fmla="*/ 1289645 h 8181528"/>
              <a:gd name="connsiteX784" fmla="*/ 4766171 w 7244952"/>
              <a:gd name="connsiteY784" fmla="*/ 1237853 h 8181528"/>
              <a:gd name="connsiteX785" fmla="*/ 4772868 w 7244952"/>
              <a:gd name="connsiteY785" fmla="*/ 1240086 h 8181528"/>
              <a:gd name="connsiteX786" fmla="*/ 4768850 w 7244952"/>
              <a:gd name="connsiteY786" fmla="*/ 1298575 h 8181528"/>
              <a:gd name="connsiteX787" fmla="*/ 4934942 w 7244952"/>
              <a:gd name="connsiteY787" fmla="*/ 1298575 h 8181528"/>
              <a:gd name="connsiteX788" fmla="*/ 4934942 w 7244952"/>
              <a:gd name="connsiteY788" fmla="*/ 1269107 h 8181528"/>
              <a:gd name="connsiteX789" fmla="*/ 4910608 w 7244952"/>
              <a:gd name="connsiteY789" fmla="*/ 1261740 h 8181528"/>
              <a:gd name="connsiteX790" fmla="*/ 4899670 w 7244952"/>
              <a:gd name="connsiteY790" fmla="*/ 1254150 h 8181528"/>
              <a:gd name="connsiteX791" fmla="*/ 4892303 w 7244952"/>
              <a:gd name="connsiteY791" fmla="*/ 1241648 h 8181528"/>
              <a:gd name="connsiteX792" fmla="*/ 4888061 w 7244952"/>
              <a:gd name="connsiteY792" fmla="*/ 1217761 h 8181528"/>
              <a:gd name="connsiteX793" fmla="*/ 4886722 w 7244952"/>
              <a:gd name="connsiteY793" fmla="*/ 1172220 h 8181528"/>
              <a:gd name="connsiteX794" fmla="*/ 4886722 w 7244952"/>
              <a:gd name="connsiteY794" fmla="*/ 998091 h 8181528"/>
              <a:gd name="connsiteX795" fmla="*/ 4870648 w 7244952"/>
              <a:gd name="connsiteY795" fmla="*/ 909241 h 8181528"/>
              <a:gd name="connsiteX796" fmla="*/ 4822205 w 7244952"/>
              <a:gd name="connsiteY796" fmla="*/ 862806 h 8181528"/>
              <a:gd name="connsiteX797" fmla="*/ 4735810 w 7244952"/>
              <a:gd name="connsiteY797" fmla="*/ 848519 h 8181528"/>
              <a:gd name="connsiteX798" fmla="*/ 4422824 w 7244952"/>
              <a:gd name="connsiteY798" fmla="*/ 848519 h 8181528"/>
              <a:gd name="connsiteX799" fmla="*/ 4348261 w 7244952"/>
              <a:gd name="connsiteY799" fmla="*/ 865485 h 8181528"/>
              <a:gd name="connsiteX800" fmla="*/ 4281289 w 7244952"/>
              <a:gd name="connsiteY800" fmla="*/ 920849 h 8181528"/>
              <a:gd name="connsiteX801" fmla="*/ 4275484 w 7244952"/>
              <a:gd name="connsiteY801" fmla="*/ 919510 h 8181528"/>
              <a:gd name="connsiteX802" fmla="*/ 4281735 w 7244952"/>
              <a:gd name="connsiteY802" fmla="*/ 852091 h 8181528"/>
              <a:gd name="connsiteX803" fmla="*/ 4225478 w 7244952"/>
              <a:gd name="connsiteY803" fmla="*/ 852091 h 8181528"/>
              <a:gd name="connsiteX804" fmla="*/ 4103141 w 7244952"/>
              <a:gd name="connsiteY804" fmla="*/ 855663 h 8181528"/>
              <a:gd name="connsiteX805" fmla="*/ 4103141 w 7244952"/>
              <a:gd name="connsiteY805" fmla="*/ 886023 h 8181528"/>
              <a:gd name="connsiteX806" fmla="*/ 4133279 w 7244952"/>
              <a:gd name="connsiteY806" fmla="*/ 896516 h 8181528"/>
              <a:gd name="connsiteX807" fmla="*/ 4146227 w 7244952"/>
              <a:gd name="connsiteY807" fmla="*/ 912143 h 8181528"/>
              <a:gd name="connsiteX808" fmla="*/ 4151585 w 7244952"/>
              <a:gd name="connsiteY808" fmla="*/ 937592 h 8181528"/>
              <a:gd name="connsiteX809" fmla="*/ 4152701 w 7244952"/>
              <a:gd name="connsiteY809" fmla="*/ 986482 h 8181528"/>
              <a:gd name="connsiteX810" fmla="*/ 4152701 w 7244952"/>
              <a:gd name="connsiteY810" fmla="*/ 1169988 h 8181528"/>
              <a:gd name="connsiteX811" fmla="*/ 4149799 w 7244952"/>
              <a:gd name="connsiteY811" fmla="*/ 1228477 h 8181528"/>
              <a:gd name="connsiteX812" fmla="*/ 4138637 w 7244952"/>
              <a:gd name="connsiteY812" fmla="*/ 1253927 h 8181528"/>
              <a:gd name="connsiteX813" fmla="*/ 4108946 w 7244952"/>
              <a:gd name="connsiteY813" fmla="*/ 1269107 h 8181528"/>
              <a:gd name="connsiteX814" fmla="*/ 4108946 w 7244952"/>
              <a:gd name="connsiteY814" fmla="*/ 1298575 h 8181528"/>
              <a:gd name="connsiteX815" fmla="*/ 4329063 w 7244952"/>
              <a:gd name="connsiteY815" fmla="*/ 1298575 h 8181528"/>
              <a:gd name="connsiteX816" fmla="*/ 4329063 w 7244952"/>
              <a:gd name="connsiteY816" fmla="*/ 1269107 h 8181528"/>
              <a:gd name="connsiteX817" fmla="*/ 4297362 w 7244952"/>
              <a:gd name="connsiteY817" fmla="*/ 1255489 h 8181528"/>
              <a:gd name="connsiteX818" fmla="*/ 4284861 w 7244952"/>
              <a:gd name="connsiteY818" fmla="*/ 1228924 h 8181528"/>
              <a:gd name="connsiteX819" fmla="*/ 4281735 w 7244952"/>
              <a:gd name="connsiteY819" fmla="*/ 1169541 h 8181528"/>
              <a:gd name="connsiteX820" fmla="*/ 4281735 w 7244952"/>
              <a:gd name="connsiteY820" fmla="*/ 1027113 h 8181528"/>
              <a:gd name="connsiteX821" fmla="*/ 4283075 w 7244952"/>
              <a:gd name="connsiteY821" fmla="*/ 992287 h 8181528"/>
              <a:gd name="connsiteX822" fmla="*/ 4288656 w 7244952"/>
              <a:gd name="connsiteY822" fmla="*/ 969293 h 8181528"/>
              <a:gd name="connsiteX823" fmla="*/ 4302943 w 7244952"/>
              <a:gd name="connsiteY823" fmla="*/ 946969 h 8181528"/>
              <a:gd name="connsiteX824" fmla="*/ 4324821 w 7244952"/>
              <a:gd name="connsiteY824" fmla="*/ 930002 h 8181528"/>
              <a:gd name="connsiteX825" fmla="*/ 4346475 w 7244952"/>
              <a:gd name="connsiteY825" fmla="*/ 923975 h 8181528"/>
              <a:gd name="connsiteX826" fmla="*/ 4379292 w 7244952"/>
              <a:gd name="connsiteY826" fmla="*/ 937816 h 8181528"/>
              <a:gd name="connsiteX827" fmla="*/ 4399161 w 7244952"/>
              <a:gd name="connsiteY827" fmla="*/ 977553 h 8181528"/>
              <a:gd name="connsiteX828" fmla="*/ 4479974 w 7244952"/>
              <a:gd name="connsiteY828" fmla="*/ 977553 h 8181528"/>
              <a:gd name="connsiteX829" fmla="*/ 4479974 w 7244952"/>
              <a:gd name="connsiteY829" fmla="*/ 854323 h 8181528"/>
              <a:gd name="connsiteX830" fmla="*/ 4422824 w 7244952"/>
              <a:gd name="connsiteY830" fmla="*/ 848519 h 8181528"/>
              <a:gd name="connsiteX831" fmla="*/ 3808759 w 7244952"/>
              <a:gd name="connsiteY831" fmla="*/ 848519 h 8181528"/>
              <a:gd name="connsiteX832" fmla="*/ 3720132 w 7244952"/>
              <a:gd name="connsiteY832" fmla="*/ 862137 h 8181528"/>
              <a:gd name="connsiteX833" fmla="*/ 3649811 w 7244952"/>
              <a:gd name="connsiteY833" fmla="*/ 904329 h 8181528"/>
              <a:gd name="connsiteX834" fmla="*/ 3603823 w 7244952"/>
              <a:gd name="connsiteY834" fmla="*/ 976660 h 8181528"/>
              <a:gd name="connsiteX835" fmla="*/ 3587303 w 7244952"/>
              <a:gd name="connsiteY835" fmla="*/ 1080244 h 8181528"/>
              <a:gd name="connsiteX836" fmla="*/ 3614092 w 7244952"/>
              <a:gd name="connsiteY836" fmla="*/ 1209055 h 8181528"/>
              <a:gd name="connsiteX837" fmla="*/ 3688432 w 7244952"/>
              <a:gd name="connsiteY837" fmla="*/ 1282725 h 8181528"/>
              <a:gd name="connsiteX838" fmla="*/ 3801616 w 7244952"/>
              <a:gd name="connsiteY838" fmla="*/ 1305719 h 8181528"/>
              <a:gd name="connsiteX839" fmla="*/ 3921720 w 7244952"/>
              <a:gd name="connsiteY839" fmla="*/ 1280269 h 8181528"/>
              <a:gd name="connsiteX840" fmla="*/ 3999408 w 7244952"/>
              <a:gd name="connsiteY840" fmla="*/ 1202358 h 8181528"/>
              <a:gd name="connsiteX841" fmla="*/ 4026644 w 7244952"/>
              <a:gd name="connsiteY841" fmla="*/ 1072208 h 8181528"/>
              <a:gd name="connsiteX842" fmla="*/ 3971726 w 7244952"/>
              <a:gd name="connsiteY842" fmla="*/ 905446 h 8181528"/>
              <a:gd name="connsiteX843" fmla="*/ 3808759 w 7244952"/>
              <a:gd name="connsiteY843" fmla="*/ 848519 h 8181528"/>
              <a:gd name="connsiteX844" fmla="*/ 2783185 w 7244952"/>
              <a:gd name="connsiteY844" fmla="*/ 848519 h 8181528"/>
              <a:gd name="connsiteX845" fmla="*/ 2741215 w 7244952"/>
              <a:gd name="connsiteY845" fmla="*/ 851198 h 8181528"/>
              <a:gd name="connsiteX846" fmla="*/ 2693665 w 7244952"/>
              <a:gd name="connsiteY846" fmla="*/ 860351 h 8181528"/>
              <a:gd name="connsiteX847" fmla="*/ 2639864 w 7244952"/>
              <a:gd name="connsiteY847" fmla="*/ 876647 h 8181528"/>
              <a:gd name="connsiteX848" fmla="*/ 2571551 w 7244952"/>
              <a:gd name="connsiteY848" fmla="*/ 904776 h 8181528"/>
              <a:gd name="connsiteX849" fmla="*/ 2571551 w 7244952"/>
              <a:gd name="connsiteY849" fmla="*/ 986036 h 8181528"/>
              <a:gd name="connsiteX850" fmla="*/ 2655937 w 7244952"/>
              <a:gd name="connsiteY850" fmla="*/ 986036 h 8181528"/>
              <a:gd name="connsiteX851" fmla="*/ 2673796 w 7244952"/>
              <a:gd name="connsiteY851" fmla="*/ 930895 h 8181528"/>
              <a:gd name="connsiteX852" fmla="*/ 2700809 w 7244952"/>
              <a:gd name="connsiteY852" fmla="*/ 903883 h 8181528"/>
              <a:gd name="connsiteX853" fmla="*/ 2736304 w 7244952"/>
              <a:gd name="connsiteY853" fmla="*/ 896739 h 8181528"/>
              <a:gd name="connsiteX854" fmla="*/ 2771576 w 7244952"/>
              <a:gd name="connsiteY854" fmla="*/ 905892 h 8181528"/>
              <a:gd name="connsiteX855" fmla="*/ 2795687 w 7244952"/>
              <a:gd name="connsiteY855" fmla="*/ 937592 h 8181528"/>
              <a:gd name="connsiteX856" fmla="*/ 2805063 w 7244952"/>
              <a:gd name="connsiteY856" fmla="*/ 1001663 h 8181528"/>
              <a:gd name="connsiteX857" fmla="*/ 2805063 w 7244952"/>
              <a:gd name="connsiteY857" fmla="*/ 1044079 h 8181528"/>
              <a:gd name="connsiteX858" fmla="*/ 2609279 w 7244952"/>
              <a:gd name="connsiteY858" fmla="*/ 1091630 h 8181528"/>
              <a:gd name="connsiteX859" fmla="*/ 2544762 w 7244952"/>
              <a:gd name="connsiteY859" fmla="*/ 1194991 h 8181528"/>
              <a:gd name="connsiteX860" fmla="*/ 2559273 w 7244952"/>
              <a:gd name="connsiteY860" fmla="*/ 1252587 h 8181528"/>
              <a:gd name="connsiteX861" fmla="*/ 2602136 w 7244952"/>
              <a:gd name="connsiteY861" fmla="*/ 1291655 h 8181528"/>
              <a:gd name="connsiteX862" fmla="*/ 2668885 w 7244952"/>
              <a:gd name="connsiteY862" fmla="*/ 1305719 h 8181528"/>
              <a:gd name="connsiteX863" fmla="*/ 2742332 w 7244952"/>
              <a:gd name="connsiteY863" fmla="*/ 1289645 h 8181528"/>
              <a:gd name="connsiteX864" fmla="*/ 2813546 w 7244952"/>
              <a:gd name="connsiteY864" fmla="*/ 1237853 h 8181528"/>
              <a:gd name="connsiteX865" fmla="*/ 2820243 w 7244952"/>
              <a:gd name="connsiteY865" fmla="*/ 1240086 h 8181528"/>
              <a:gd name="connsiteX866" fmla="*/ 2816225 w 7244952"/>
              <a:gd name="connsiteY866" fmla="*/ 1298575 h 8181528"/>
              <a:gd name="connsiteX867" fmla="*/ 2982317 w 7244952"/>
              <a:gd name="connsiteY867" fmla="*/ 1298575 h 8181528"/>
              <a:gd name="connsiteX868" fmla="*/ 2982317 w 7244952"/>
              <a:gd name="connsiteY868" fmla="*/ 1269107 h 8181528"/>
              <a:gd name="connsiteX869" fmla="*/ 2957984 w 7244952"/>
              <a:gd name="connsiteY869" fmla="*/ 1261740 h 8181528"/>
              <a:gd name="connsiteX870" fmla="*/ 2947045 w 7244952"/>
              <a:gd name="connsiteY870" fmla="*/ 1254150 h 8181528"/>
              <a:gd name="connsiteX871" fmla="*/ 2939678 w 7244952"/>
              <a:gd name="connsiteY871" fmla="*/ 1241648 h 8181528"/>
              <a:gd name="connsiteX872" fmla="*/ 2935436 w 7244952"/>
              <a:gd name="connsiteY872" fmla="*/ 1217761 h 8181528"/>
              <a:gd name="connsiteX873" fmla="*/ 2934097 w 7244952"/>
              <a:gd name="connsiteY873" fmla="*/ 1172220 h 8181528"/>
              <a:gd name="connsiteX874" fmla="*/ 2934097 w 7244952"/>
              <a:gd name="connsiteY874" fmla="*/ 998091 h 8181528"/>
              <a:gd name="connsiteX875" fmla="*/ 2918023 w 7244952"/>
              <a:gd name="connsiteY875" fmla="*/ 909241 h 8181528"/>
              <a:gd name="connsiteX876" fmla="*/ 2869580 w 7244952"/>
              <a:gd name="connsiteY876" fmla="*/ 862806 h 8181528"/>
              <a:gd name="connsiteX877" fmla="*/ 2783185 w 7244952"/>
              <a:gd name="connsiteY877" fmla="*/ 848519 h 8181528"/>
              <a:gd name="connsiteX878" fmla="*/ 1684685 w 7244952"/>
              <a:gd name="connsiteY878" fmla="*/ 848519 h 8181528"/>
              <a:gd name="connsiteX879" fmla="*/ 1596057 w 7244952"/>
              <a:gd name="connsiteY879" fmla="*/ 862137 h 8181528"/>
              <a:gd name="connsiteX880" fmla="*/ 1525736 w 7244952"/>
              <a:gd name="connsiteY880" fmla="*/ 904329 h 8181528"/>
              <a:gd name="connsiteX881" fmla="*/ 1479748 w 7244952"/>
              <a:gd name="connsiteY881" fmla="*/ 976660 h 8181528"/>
              <a:gd name="connsiteX882" fmla="*/ 1463228 w 7244952"/>
              <a:gd name="connsiteY882" fmla="*/ 1080244 h 8181528"/>
              <a:gd name="connsiteX883" fmla="*/ 1490017 w 7244952"/>
              <a:gd name="connsiteY883" fmla="*/ 1209055 h 8181528"/>
              <a:gd name="connsiteX884" fmla="*/ 1564357 w 7244952"/>
              <a:gd name="connsiteY884" fmla="*/ 1282725 h 8181528"/>
              <a:gd name="connsiteX885" fmla="*/ 1677541 w 7244952"/>
              <a:gd name="connsiteY885" fmla="*/ 1305719 h 8181528"/>
              <a:gd name="connsiteX886" fmla="*/ 1797645 w 7244952"/>
              <a:gd name="connsiteY886" fmla="*/ 1280269 h 8181528"/>
              <a:gd name="connsiteX887" fmla="*/ 1875333 w 7244952"/>
              <a:gd name="connsiteY887" fmla="*/ 1202358 h 8181528"/>
              <a:gd name="connsiteX888" fmla="*/ 1902569 w 7244952"/>
              <a:gd name="connsiteY888" fmla="*/ 1072208 h 8181528"/>
              <a:gd name="connsiteX889" fmla="*/ 1847652 w 7244952"/>
              <a:gd name="connsiteY889" fmla="*/ 905446 h 8181528"/>
              <a:gd name="connsiteX890" fmla="*/ 1684685 w 7244952"/>
              <a:gd name="connsiteY890" fmla="*/ 848519 h 8181528"/>
              <a:gd name="connsiteX891" fmla="*/ 5051028 w 7244952"/>
              <a:gd name="connsiteY891" fmla="*/ 744042 h 8181528"/>
              <a:gd name="connsiteX892" fmla="*/ 5044554 w 7244952"/>
              <a:gd name="connsiteY892" fmla="*/ 804317 h 8181528"/>
              <a:gd name="connsiteX893" fmla="*/ 5033168 w 7244952"/>
              <a:gd name="connsiteY893" fmla="*/ 843384 h 8181528"/>
              <a:gd name="connsiteX894" fmla="*/ 5013077 w 7244952"/>
              <a:gd name="connsiteY894" fmla="*/ 867271 h 8181528"/>
              <a:gd name="connsiteX895" fmla="*/ 4972893 w 7244952"/>
              <a:gd name="connsiteY895" fmla="*/ 880666 h 8181528"/>
              <a:gd name="connsiteX896" fmla="*/ 4972893 w 7244952"/>
              <a:gd name="connsiteY896" fmla="*/ 911473 h 8181528"/>
              <a:gd name="connsiteX897" fmla="*/ 5028704 w 7244952"/>
              <a:gd name="connsiteY897" fmla="*/ 911473 h 8181528"/>
              <a:gd name="connsiteX898" fmla="*/ 5028704 w 7244952"/>
              <a:gd name="connsiteY898" fmla="*/ 1161058 h 8181528"/>
              <a:gd name="connsiteX899" fmla="*/ 5061520 w 7244952"/>
              <a:gd name="connsiteY899" fmla="*/ 1269777 h 8181528"/>
              <a:gd name="connsiteX900" fmla="*/ 5160863 w 7244952"/>
              <a:gd name="connsiteY900" fmla="*/ 1305719 h 8181528"/>
              <a:gd name="connsiteX901" fmla="*/ 5228729 w 7244952"/>
              <a:gd name="connsiteY901" fmla="*/ 1292101 h 8181528"/>
              <a:gd name="connsiteX902" fmla="*/ 5300166 w 7244952"/>
              <a:gd name="connsiteY902" fmla="*/ 1244997 h 8181528"/>
              <a:gd name="connsiteX903" fmla="*/ 5272038 w 7244952"/>
              <a:gd name="connsiteY903" fmla="*/ 1207492 h 8181528"/>
              <a:gd name="connsiteX904" fmla="*/ 5249044 w 7244952"/>
              <a:gd name="connsiteY904" fmla="*/ 1224012 h 8181528"/>
              <a:gd name="connsiteX905" fmla="*/ 5228282 w 7244952"/>
              <a:gd name="connsiteY905" fmla="*/ 1232049 h 8181528"/>
              <a:gd name="connsiteX906" fmla="*/ 5205958 w 7244952"/>
              <a:gd name="connsiteY906" fmla="*/ 1234281 h 8181528"/>
              <a:gd name="connsiteX907" fmla="*/ 5178276 w 7244952"/>
              <a:gd name="connsiteY907" fmla="*/ 1222896 h 8181528"/>
              <a:gd name="connsiteX908" fmla="*/ 5162426 w 7244952"/>
              <a:gd name="connsiteY908" fmla="*/ 1187400 h 8181528"/>
              <a:gd name="connsiteX909" fmla="*/ 5157738 w 7244952"/>
              <a:gd name="connsiteY909" fmla="*/ 1112838 h 8181528"/>
              <a:gd name="connsiteX910" fmla="*/ 5157738 w 7244952"/>
              <a:gd name="connsiteY910" fmla="*/ 911473 h 8181528"/>
              <a:gd name="connsiteX911" fmla="*/ 5284986 w 7244952"/>
              <a:gd name="connsiteY911" fmla="*/ 911473 h 8181528"/>
              <a:gd name="connsiteX912" fmla="*/ 5284986 w 7244952"/>
              <a:gd name="connsiteY912" fmla="*/ 855663 h 8181528"/>
              <a:gd name="connsiteX913" fmla="*/ 5157738 w 7244952"/>
              <a:gd name="connsiteY913" fmla="*/ 855663 h 8181528"/>
              <a:gd name="connsiteX914" fmla="*/ 5157738 w 7244952"/>
              <a:gd name="connsiteY914" fmla="*/ 744042 h 8181528"/>
              <a:gd name="connsiteX915" fmla="*/ 1236414 w 7244952"/>
              <a:gd name="connsiteY915" fmla="*/ 681980 h 8181528"/>
              <a:gd name="connsiteX916" fmla="*/ 1083717 w 7244952"/>
              <a:gd name="connsiteY916" fmla="*/ 720824 h 8181528"/>
              <a:gd name="connsiteX917" fmla="*/ 987053 w 7244952"/>
              <a:gd name="connsiteY917" fmla="*/ 831329 h 8181528"/>
              <a:gd name="connsiteX918" fmla="*/ 954236 w 7244952"/>
              <a:gd name="connsiteY918" fmla="*/ 999877 h 8181528"/>
              <a:gd name="connsiteX919" fmla="*/ 982141 w 7244952"/>
              <a:gd name="connsiteY919" fmla="*/ 1171104 h 8181528"/>
              <a:gd name="connsiteX920" fmla="*/ 1068759 w 7244952"/>
              <a:gd name="connsiteY920" fmla="*/ 1272233 h 8181528"/>
              <a:gd name="connsiteX921" fmla="*/ 1220341 w 7244952"/>
              <a:gd name="connsiteY921" fmla="*/ 1305719 h 8181528"/>
              <a:gd name="connsiteX922" fmla="*/ 1304726 w 7244952"/>
              <a:gd name="connsiteY922" fmla="*/ 1300361 h 8181528"/>
              <a:gd name="connsiteX923" fmla="*/ 1394470 w 7244952"/>
              <a:gd name="connsiteY923" fmla="*/ 1283395 h 8181528"/>
              <a:gd name="connsiteX924" fmla="*/ 1394470 w 7244952"/>
              <a:gd name="connsiteY924" fmla="*/ 1148110 h 8181528"/>
              <a:gd name="connsiteX925" fmla="*/ 1333302 w 7244952"/>
              <a:gd name="connsiteY925" fmla="*/ 1148110 h 8181528"/>
              <a:gd name="connsiteX926" fmla="*/ 1312093 w 7244952"/>
              <a:gd name="connsiteY926" fmla="*/ 1209725 h 8181528"/>
              <a:gd name="connsiteX927" fmla="*/ 1279277 w 7244952"/>
              <a:gd name="connsiteY927" fmla="*/ 1242541 h 8181528"/>
              <a:gd name="connsiteX928" fmla="*/ 1226145 w 7244952"/>
              <a:gd name="connsiteY928" fmla="*/ 1253480 h 8181528"/>
              <a:gd name="connsiteX929" fmla="*/ 1129258 w 7244952"/>
              <a:gd name="connsiteY929" fmla="*/ 1189856 h 8181528"/>
              <a:gd name="connsiteX930" fmla="*/ 1096218 w 7244952"/>
              <a:gd name="connsiteY930" fmla="*/ 1002556 h 8181528"/>
              <a:gd name="connsiteX931" fmla="*/ 1132384 w 7244952"/>
              <a:gd name="connsiteY931" fmla="*/ 801861 h 8181528"/>
              <a:gd name="connsiteX932" fmla="*/ 1239093 w 7244952"/>
              <a:gd name="connsiteY932" fmla="*/ 734219 h 8181528"/>
              <a:gd name="connsiteX933" fmla="*/ 1299815 w 7244952"/>
              <a:gd name="connsiteY933" fmla="*/ 758106 h 8181528"/>
              <a:gd name="connsiteX934" fmla="*/ 1333748 w 7244952"/>
              <a:gd name="connsiteY934" fmla="*/ 832445 h 8181528"/>
              <a:gd name="connsiteX935" fmla="*/ 1394470 w 7244952"/>
              <a:gd name="connsiteY935" fmla="*/ 832445 h 8181528"/>
              <a:gd name="connsiteX936" fmla="*/ 1394470 w 7244952"/>
              <a:gd name="connsiteY936" fmla="*/ 702965 h 8181528"/>
              <a:gd name="connsiteX937" fmla="*/ 1318121 w 7244952"/>
              <a:gd name="connsiteY937" fmla="*/ 686891 h 8181528"/>
              <a:gd name="connsiteX938" fmla="*/ 1236414 w 7244952"/>
              <a:gd name="connsiteY938" fmla="*/ 681980 h 8181528"/>
              <a:gd name="connsiteX939" fmla="*/ 5375027 w 7244952"/>
              <a:gd name="connsiteY939" fmla="*/ 677515 h 8181528"/>
              <a:gd name="connsiteX940" fmla="*/ 5375027 w 7244952"/>
              <a:gd name="connsiteY940" fmla="*/ 786904 h 8181528"/>
              <a:gd name="connsiteX941" fmla="*/ 5497363 w 7244952"/>
              <a:gd name="connsiteY941" fmla="*/ 786904 h 8181528"/>
              <a:gd name="connsiteX942" fmla="*/ 5497363 w 7244952"/>
              <a:gd name="connsiteY942" fmla="*/ 677515 h 8181528"/>
              <a:gd name="connsiteX943" fmla="*/ 3148856 w 7244952"/>
              <a:gd name="connsiteY943" fmla="*/ 659209 h 8181528"/>
              <a:gd name="connsiteX944" fmla="*/ 3024286 w 7244952"/>
              <a:gd name="connsiteY944" fmla="*/ 665460 h 8181528"/>
              <a:gd name="connsiteX945" fmla="*/ 3024286 w 7244952"/>
              <a:gd name="connsiteY945" fmla="*/ 694928 h 8181528"/>
              <a:gd name="connsiteX946" fmla="*/ 3051299 w 7244952"/>
              <a:gd name="connsiteY946" fmla="*/ 703411 h 8181528"/>
              <a:gd name="connsiteX947" fmla="*/ 3064470 w 7244952"/>
              <a:gd name="connsiteY947" fmla="*/ 715020 h 8181528"/>
              <a:gd name="connsiteX948" fmla="*/ 3071614 w 7244952"/>
              <a:gd name="connsiteY948" fmla="*/ 734665 h 8181528"/>
              <a:gd name="connsiteX949" fmla="*/ 3074293 w 7244952"/>
              <a:gd name="connsiteY949" fmla="*/ 764133 h 8181528"/>
              <a:gd name="connsiteX950" fmla="*/ 3074739 w 7244952"/>
              <a:gd name="connsiteY950" fmla="*/ 813247 h 8181528"/>
              <a:gd name="connsiteX951" fmla="*/ 3074739 w 7244952"/>
              <a:gd name="connsiteY951" fmla="*/ 1297682 h 8181528"/>
              <a:gd name="connsiteX952" fmla="*/ 3131889 w 7244952"/>
              <a:gd name="connsiteY952" fmla="*/ 1305719 h 8181528"/>
              <a:gd name="connsiteX953" fmla="*/ 3164929 w 7244952"/>
              <a:gd name="connsiteY953" fmla="*/ 1280269 h 8181528"/>
              <a:gd name="connsiteX954" fmla="*/ 3293963 w 7244952"/>
              <a:gd name="connsiteY954" fmla="*/ 1305719 h 8181528"/>
              <a:gd name="connsiteX955" fmla="*/ 3408263 w 7244952"/>
              <a:gd name="connsiteY955" fmla="*/ 1279600 h 8181528"/>
              <a:gd name="connsiteX956" fmla="*/ 3478138 w 7244952"/>
              <a:gd name="connsiteY956" fmla="*/ 1201465 h 8181528"/>
              <a:gd name="connsiteX957" fmla="*/ 3501578 w 7244952"/>
              <a:gd name="connsiteY957" fmla="*/ 1072208 h 8181528"/>
              <a:gd name="connsiteX958" fmla="*/ 3461841 w 7244952"/>
              <a:gd name="connsiteY958" fmla="*/ 904553 h 8181528"/>
              <a:gd name="connsiteX959" fmla="*/ 3342630 w 7244952"/>
              <a:gd name="connsiteY959" fmla="*/ 848519 h 8181528"/>
              <a:gd name="connsiteX960" fmla="*/ 3293963 w 7244952"/>
              <a:gd name="connsiteY960" fmla="*/ 856332 h 8181528"/>
              <a:gd name="connsiteX961" fmla="*/ 3251101 w 7244952"/>
              <a:gd name="connsiteY961" fmla="*/ 877540 h 8181528"/>
              <a:gd name="connsiteX962" fmla="*/ 3204220 w 7244952"/>
              <a:gd name="connsiteY962" fmla="*/ 915491 h 8181528"/>
              <a:gd name="connsiteX963" fmla="*/ 3203773 w 7244952"/>
              <a:gd name="connsiteY963" fmla="*/ 915045 h 8181528"/>
              <a:gd name="connsiteX964" fmla="*/ 3203773 w 7244952"/>
              <a:gd name="connsiteY964" fmla="*/ 659209 h 8181528"/>
              <a:gd name="connsiteX965" fmla="*/ 2381796 w 7244952"/>
              <a:gd name="connsiteY965" fmla="*/ 659209 h 8181528"/>
              <a:gd name="connsiteX966" fmla="*/ 2258119 w 7244952"/>
              <a:gd name="connsiteY966" fmla="*/ 665460 h 8181528"/>
              <a:gd name="connsiteX967" fmla="*/ 2258119 w 7244952"/>
              <a:gd name="connsiteY967" fmla="*/ 694928 h 8181528"/>
              <a:gd name="connsiteX968" fmla="*/ 2285355 w 7244952"/>
              <a:gd name="connsiteY968" fmla="*/ 702965 h 8181528"/>
              <a:gd name="connsiteX969" fmla="*/ 2298526 w 7244952"/>
              <a:gd name="connsiteY969" fmla="*/ 714797 h 8181528"/>
              <a:gd name="connsiteX970" fmla="*/ 2305224 w 7244952"/>
              <a:gd name="connsiteY970" fmla="*/ 734442 h 8181528"/>
              <a:gd name="connsiteX971" fmla="*/ 2307902 w 7244952"/>
              <a:gd name="connsiteY971" fmla="*/ 764803 h 8181528"/>
              <a:gd name="connsiteX972" fmla="*/ 2308572 w 7244952"/>
              <a:gd name="connsiteY972" fmla="*/ 821283 h 8181528"/>
              <a:gd name="connsiteX973" fmla="*/ 2308572 w 7244952"/>
              <a:gd name="connsiteY973" fmla="*/ 1169541 h 8181528"/>
              <a:gd name="connsiteX974" fmla="*/ 2307679 w 7244952"/>
              <a:gd name="connsiteY974" fmla="*/ 1213520 h 8181528"/>
              <a:gd name="connsiteX975" fmla="*/ 2303661 w 7244952"/>
              <a:gd name="connsiteY975" fmla="*/ 1237630 h 8181528"/>
              <a:gd name="connsiteX976" fmla="*/ 2296294 w 7244952"/>
              <a:gd name="connsiteY976" fmla="*/ 1251917 h 8181528"/>
              <a:gd name="connsiteX977" fmla="*/ 2284462 w 7244952"/>
              <a:gd name="connsiteY977" fmla="*/ 1261740 h 8181528"/>
              <a:gd name="connsiteX978" fmla="*/ 2263477 w 7244952"/>
              <a:gd name="connsiteY978" fmla="*/ 1269107 h 8181528"/>
              <a:gd name="connsiteX979" fmla="*/ 2263477 w 7244952"/>
              <a:gd name="connsiteY979" fmla="*/ 1298575 h 8181528"/>
              <a:gd name="connsiteX980" fmla="*/ 2482254 w 7244952"/>
              <a:gd name="connsiteY980" fmla="*/ 1298575 h 8181528"/>
              <a:gd name="connsiteX981" fmla="*/ 2482254 w 7244952"/>
              <a:gd name="connsiteY981" fmla="*/ 1269107 h 8181528"/>
              <a:gd name="connsiteX982" fmla="*/ 2451224 w 7244952"/>
              <a:gd name="connsiteY982" fmla="*/ 1253703 h 8181528"/>
              <a:gd name="connsiteX983" fmla="*/ 2440285 w 7244952"/>
              <a:gd name="connsiteY983" fmla="*/ 1228031 h 8181528"/>
              <a:gd name="connsiteX984" fmla="*/ 2437606 w 7244952"/>
              <a:gd name="connsiteY984" fmla="*/ 1169541 h 8181528"/>
              <a:gd name="connsiteX985" fmla="*/ 2437606 w 7244952"/>
              <a:gd name="connsiteY985" fmla="*/ 659209 h 8181528"/>
              <a:gd name="connsiteX986" fmla="*/ 2096046 w 7244952"/>
              <a:gd name="connsiteY986" fmla="*/ 659209 h 8181528"/>
              <a:gd name="connsiteX987" fmla="*/ 1972370 w 7244952"/>
              <a:gd name="connsiteY987" fmla="*/ 665460 h 8181528"/>
              <a:gd name="connsiteX988" fmla="*/ 1972370 w 7244952"/>
              <a:gd name="connsiteY988" fmla="*/ 694928 h 8181528"/>
              <a:gd name="connsiteX989" fmla="*/ 1999605 w 7244952"/>
              <a:gd name="connsiteY989" fmla="*/ 702965 h 8181528"/>
              <a:gd name="connsiteX990" fmla="*/ 2012776 w 7244952"/>
              <a:gd name="connsiteY990" fmla="*/ 714797 h 8181528"/>
              <a:gd name="connsiteX991" fmla="*/ 2019473 w 7244952"/>
              <a:gd name="connsiteY991" fmla="*/ 734442 h 8181528"/>
              <a:gd name="connsiteX992" fmla="*/ 2022152 w 7244952"/>
              <a:gd name="connsiteY992" fmla="*/ 764803 h 8181528"/>
              <a:gd name="connsiteX993" fmla="*/ 2022822 w 7244952"/>
              <a:gd name="connsiteY993" fmla="*/ 821283 h 8181528"/>
              <a:gd name="connsiteX994" fmla="*/ 2022822 w 7244952"/>
              <a:gd name="connsiteY994" fmla="*/ 1169541 h 8181528"/>
              <a:gd name="connsiteX995" fmla="*/ 2021929 w 7244952"/>
              <a:gd name="connsiteY995" fmla="*/ 1213520 h 8181528"/>
              <a:gd name="connsiteX996" fmla="*/ 2017911 w 7244952"/>
              <a:gd name="connsiteY996" fmla="*/ 1237630 h 8181528"/>
              <a:gd name="connsiteX997" fmla="*/ 2010544 w 7244952"/>
              <a:gd name="connsiteY997" fmla="*/ 1251917 h 8181528"/>
              <a:gd name="connsiteX998" fmla="*/ 1998712 w 7244952"/>
              <a:gd name="connsiteY998" fmla="*/ 1261740 h 8181528"/>
              <a:gd name="connsiteX999" fmla="*/ 1977727 w 7244952"/>
              <a:gd name="connsiteY999" fmla="*/ 1269107 h 8181528"/>
              <a:gd name="connsiteX1000" fmla="*/ 1977727 w 7244952"/>
              <a:gd name="connsiteY1000" fmla="*/ 1298575 h 8181528"/>
              <a:gd name="connsiteX1001" fmla="*/ 2196504 w 7244952"/>
              <a:gd name="connsiteY1001" fmla="*/ 1298575 h 8181528"/>
              <a:gd name="connsiteX1002" fmla="*/ 2196504 w 7244952"/>
              <a:gd name="connsiteY1002" fmla="*/ 1269107 h 8181528"/>
              <a:gd name="connsiteX1003" fmla="*/ 2165474 w 7244952"/>
              <a:gd name="connsiteY1003" fmla="*/ 1253703 h 8181528"/>
              <a:gd name="connsiteX1004" fmla="*/ 2154535 w 7244952"/>
              <a:gd name="connsiteY1004" fmla="*/ 1228031 h 8181528"/>
              <a:gd name="connsiteX1005" fmla="*/ 2151856 w 7244952"/>
              <a:gd name="connsiteY1005" fmla="*/ 1169541 h 8181528"/>
              <a:gd name="connsiteX1006" fmla="*/ 2151856 w 7244952"/>
              <a:gd name="connsiteY1006" fmla="*/ 659209 h 8181528"/>
              <a:gd name="connsiteX1007" fmla="*/ 0 w 7244952"/>
              <a:gd name="connsiteY1007" fmla="*/ 0 h 8181528"/>
              <a:gd name="connsiteX1008" fmla="*/ 7244952 w 7244952"/>
              <a:gd name="connsiteY1008" fmla="*/ 0 h 8181528"/>
              <a:gd name="connsiteX1009" fmla="*/ 7244952 w 7244952"/>
              <a:gd name="connsiteY1009" fmla="*/ 8181528 h 8181528"/>
              <a:gd name="connsiteX1010" fmla="*/ 0 w 7244952"/>
              <a:gd name="connsiteY1010" fmla="*/ 8181528 h 8181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</a:cxnLst>
            <a:rect l="l" t="t" r="r" b="b"/>
            <a:pathLst>
              <a:path w="7244952" h="8181528">
                <a:moveTo>
                  <a:pt x="4205685" y="3288111"/>
                </a:moveTo>
                <a:lnTo>
                  <a:pt x="4205685" y="3362227"/>
                </a:lnTo>
                <a:cubicBezTo>
                  <a:pt x="4205685" y="3375919"/>
                  <a:pt x="4202113" y="3388867"/>
                  <a:pt x="4194969" y="3401071"/>
                </a:cubicBezTo>
                <a:cubicBezTo>
                  <a:pt x="4187826" y="3413275"/>
                  <a:pt x="4178152" y="3423023"/>
                  <a:pt x="4165948" y="3430316"/>
                </a:cubicBezTo>
                <a:cubicBezTo>
                  <a:pt x="4153744" y="3437608"/>
                  <a:pt x="4140796" y="3441255"/>
                  <a:pt x="4127104" y="3441255"/>
                </a:cubicBezTo>
                <a:cubicBezTo>
                  <a:pt x="4109244" y="3441255"/>
                  <a:pt x="4095255" y="3436418"/>
                  <a:pt x="4085134" y="3426744"/>
                </a:cubicBezTo>
                <a:cubicBezTo>
                  <a:pt x="4075014" y="3417070"/>
                  <a:pt x="4069954" y="3403006"/>
                  <a:pt x="4069954" y="3384551"/>
                </a:cubicBezTo>
                <a:cubicBezTo>
                  <a:pt x="4069954" y="3353595"/>
                  <a:pt x="4081042" y="3330080"/>
                  <a:pt x="4103217" y="3314007"/>
                </a:cubicBezTo>
                <a:cubicBezTo>
                  <a:pt x="4125392" y="3297933"/>
                  <a:pt x="4159548" y="3289301"/>
                  <a:pt x="4205685" y="3288111"/>
                </a:cubicBezTo>
                <a:close/>
                <a:moveTo>
                  <a:pt x="5627738" y="3095229"/>
                </a:moveTo>
                <a:cubicBezTo>
                  <a:pt x="5651550" y="3095229"/>
                  <a:pt x="5668814" y="3106391"/>
                  <a:pt x="5679530" y="3128716"/>
                </a:cubicBezTo>
                <a:cubicBezTo>
                  <a:pt x="5690246" y="3151040"/>
                  <a:pt x="5696199" y="3184973"/>
                  <a:pt x="5697389" y="3230514"/>
                </a:cubicBezTo>
                <a:lnTo>
                  <a:pt x="5548710" y="3230514"/>
                </a:lnTo>
                <a:cubicBezTo>
                  <a:pt x="5551389" y="3186759"/>
                  <a:pt x="5559500" y="3153272"/>
                  <a:pt x="5573044" y="3130055"/>
                </a:cubicBezTo>
                <a:cubicBezTo>
                  <a:pt x="5586587" y="3106838"/>
                  <a:pt x="5604818" y="3095229"/>
                  <a:pt x="5627738" y="3095229"/>
                </a:cubicBezTo>
                <a:close/>
                <a:moveTo>
                  <a:pt x="2713088" y="3095229"/>
                </a:moveTo>
                <a:cubicBezTo>
                  <a:pt x="2736901" y="3095229"/>
                  <a:pt x="2754164" y="3106391"/>
                  <a:pt x="2764880" y="3128716"/>
                </a:cubicBezTo>
                <a:cubicBezTo>
                  <a:pt x="2775596" y="3151040"/>
                  <a:pt x="2781549" y="3184973"/>
                  <a:pt x="2782739" y="3230514"/>
                </a:cubicBezTo>
                <a:lnTo>
                  <a:pt x="2634060" y="3230514"/>
                </a:lnTo>
                <a:cubicBezTo>
                  <a:pt x="2636739" y="3186759"/>
                  <a:pt x="2644850" y="3153272"/>
                  <a:pt x="2658394" y="3130055"/>
                </a:cubicBezTo>
                <a:cubicBezTo>
                  <a:pt x="2671937" y="3106838"/>
                  <a:pt x="2690168" y="3095229"/>
                  <a:pt x="2713088" y="3095229"/>
                </a:cubicBezTo>
                <a:close/>
                <a:moveTo>
                  <a:pt x="1759101" y="3095229"/>
                </a:moveTo>
                <a:cubicBezTo>
                  <a:pt x="1786783" y="3095229"/>
                  <a:pt x="1807693" y="3111079"/>
                  <a:pt x="1821832" y="3142780"/>
                </a:cubicBezTo>
                <a:cubicBezTo>
                  <a:pt x="1835970" y="3174480"/>
                  <a:pt x="1843040" y="3222328"/>
                  <a:pt x="1843040" y="3286325"/>
                </a:cubicBezTo>
                <a:cubicBezTo>
                  <a:pt x="1843040" y="3312816"/>
                  <a:pt x="1841700" y="3336703"/>
                  <a:pt x="1839021" y="3357985"/>
                </a:cubicBezTo>
                <a:cubicBezTo>
                  <a:pt x="1836342" y="3379268"/>
                  <a:pt x="1831803" y="3397499"/>
                  <a:pt x="1825404" y="3412680"/>
                </a:cubicBezTo>
                <a:cubicBezTo>
                  <a:pt x="1819004" y="3427860"/>
                  <a:pt x="1810521" y="3439469"/>
                  <a:pt x="1799954" y="3447505"/>
                </a:cubicBezTo>
                <a:cubicBezTo>
                  <a:pt x="1789387" y="3455542"/>
                  <a:pt x="1776216" y="3459561"/>
                  <a:pt x="1760440" y="3459561"/>
                </a:cubicBezTo>
                <a:cubicBezTo>
                  <a:pt x="1731865" y="3459561"/>
                  <a:pt x="1710508" y="3443859"/>
                  <a:pt x="1696370" y="3412456"/>
                </a:cubicBezTo>
                <a:cubicBezTo>
                  <a:pt x="1682231" y="3381054"/>
                  <a:pt x="1675161" y="3333801"/>
                  <a:pt x="1675161" y="3270698"/>
                </a:cubicBezTo>
                <a:cubicBezTo>
                  <a:pt x="1675161" y="3230514"/>
                  <a:pt x="1677989" y="3197623"/>
                  <a:pt x="1683645" y="3172025"/>
                </a:cubicBezTo>
                <a:cubicBezTo>
                  <a:pt x="1689300" y="3146426"/>
                  <a:pt x="1698230" y="3127227"/>
                  <a:pt x="1710434" y="3114428"/>
                </a:cubicBezTo>
                <a:cubicBezTo>
                  <a:pt x="1722638" y="3101629"/>
                  <a:pt x="1738860" y="3095229"/>
                  <a:pt x="1759101" y="3095229"/>
                </a:cubicBezTo>
                <a:close/>
                <a:moveTo>
                  <a:pt x="2012106" y="3055938"/>
                </a:moveTo>
                <a:lnTo>
                  <a:pt x="2012106" y="3085406"/>
                </a:lnTo>
                <a:cubicBezTo>
                  <a:pt x="2021036" y="3087192"/>
                  <a:pt x="2028552" y="3090391"/>
                  <a:pt x="2034654" y="3095005"/>
                </a:cubicBezTo>
                <a:cubicBezTo>
                  <a:pt x="2040756" y="3099619"/>
                  <a:pt x="2046337" y="3106316"/>
                  <a:pt x="2051397" y="3115097"/>
                </a:cubicBezTo>
                <a:cubicBezTo>
                  <a:pt x="2056457" y="3123878"/>
                  <a:pt x="2063006" y="3140026"/>
                  <a:pt x="2071042" y="3163540"/>
                </a:cubicBezTo>
                <a:lnTo>
                  <a:pt x="2188914" y="3503315"/>
                </a:lnTo>
                <a:lnTo>
                  <a:pt x="2273300" y="3503315"/>
                </a:lnTo>
                <a:lnTo>
                  <a:pt x="2412603" y="3194794"/>
                </a:lnTo>
                <a:cubicBezTo>
                  <a:pt x="2423914" y="3169791"/>
                  <a:pt x="2432843" y="3151113"/>
                  <a:pt x="2439392" y="3138760"/>
                </a:cubicBezTo>
                <a:cubicBezTo>
                  <a:pt x="2445940" y="3126408"/>
                  <a:pt x="2451522" y="3117106"/>
                  <a:pt x="2456135" y="3110855"/>
                </a:cubicBezTo>
                <a:cubicBezTo>
                  <a:pt x="2460749" y="3104604"/>
                  <a:pt x="2465660" y="3099544"/>
                  <a:pt x="2470869" y="3095675"/>
                </a:cubicBezTo>
                <a:cubicBezTo>
                  <a:pt x="2476078" y="3091805"/>
                  <a:pt x="2482999" y="3088531"/>
                  <a:pt x="2491631" y="3085852"/>
                </a:cubicBezTo>
                <a:lnTo>
                  <a:pt x="2491631" y="3055938"/>
                </a:lnTo>
                <a:lnTo>
                  <a:pt x="2317948" y="3055938"/>
                </a:lnTo>
                <a:lnTo>
                  <a:pt x="2317948" y="3085406"/>
                </a:lnTo>
                <a:cubicBezTo>
                  <a:pt x="2331045" y="3087489"/>
                  <a:pt x="2341165" y="3092624"/>
                  <a:pt x="2348309" y="3100809"/>
                </a:cubicBezTo>
                <a:cubicBezTo>
                  <a:pt x="2355453" y="3108995"/>
                  <a:pt x="2359025" y="3119338"/>
                  <a:pt x="2359025" y="3131840"/>
                </a:cubicBezTo>
                <a:cubicBezTo>
                  <a:pt x="2359025" y="3142258"/>
                  <a:pt x="2357536" y="3152899"/>
                  <a:pt x="2354560" y="3163764"/>
                </a:cubicBezTo>
                <a:cubicBezTo>
                  <a:pt x="2351583" y="3174628"/>
                  <a:pt x="2347118" y="3187204"/>
                  <a:pt x="2341165" y="3201492"/>
                </a:cubicBezTo>
                <a:lnTo>
                  <a:pt x="2270174" y="3372495"/>
                </a:lnTo>
                <a:lnTo>
                  <a:pt x="2205881" y="3177381"/>
                </a:lnTo>
                <a:cubicBezTo>
                  <a:pt x="2198142" y="3154462"/>
                  <a:pt x="2194272" y="3135858"/>
                  <a:pt x="2194272" y="3121571"/>
                </a:cubicBezTo>
                <a:cubicBezTo>
                  <a:pt x="2194272" y="3110855"/>
                  <a:pt x="2197546" y="3102818"/>
                  <a:pt x="2204095" y="3097461"/>
                </a:cubicBezTo>
                <a:cubicBezTo>
                  <a:pt x="2210643" y="3092103"/>
                  <a:pt x="2220912" y="3088085"/>
                  <a:pt x="2234902" y="3085406"/>
                </a:cubicBezTo>
                <a:lnTo>
                  <a:pt x="2234902" y="3055938"/>
                </a:lnTo>
                <a:close/>
                <a:moveTo>
                  <a:pt x="5634881" y="3048794"/>
                </a:moveTo>
                <a:cubicBezTo>
                  <a:pt x="5591125" y="3048794"/>
                  <a:pt x="5552728" y="3057798"/>
                  <a:pt x="5519688" y="3075806"/>
                </a:cubicBezTo>
                <a:cubicBezTo>
                  <a:pt x="5486648" y="3093814"/>
                  <a:pt x="5461124" y="3120306"/>
                  <a:pt x="5443116" y="3155280"/>
                </a:cubicBezTo>
                <a:cubicBezTo>
                  <a:pt x="5425107" y="3190255"/>
                  <a:pt x="5416103" y="3231852"/>
                  <a:pt x="5416103" y="3280073"/>
                </a:cubicBezTo>
                <a:cubicBezTo>
                  <a:pt x="5416103" y="3354785"/>
                  <a:pt x="5433591" y="3411116"/>
                  <a:pt x="5468565" y="3449067"/>
                </a:cubicBezTo>
                <a:cubicBezTo>
                  <a:pt x="5503540" y="3487018"/>
                  <a:pt x="5555704" y="3505994"/>
                  <a:pt x="5625058" y="3505994"/>
                </a:cubicBezTo>
                <a:cubicBezTo>
                  <a:pt x="5663753" y="3505994"/>
                  <a:pt x="5697984" y="3499297"/>
                  <a:pt x="5727749" y="3485902"/>
                </a:cubicBezTo>
                <a:cubicBezTo>
                  <a:pt x="5757515" y="3472508"/>
                  <a:pt x="5787578" y="3449737"/>
                  <a:pt x="5817939" y="3417590"/>
                </a:cubicBezTo>
                <a:lnTo>
                  <a:pt x="5781774" y="3378299"/>
                </a:lnTo>
                <a:cubicBezTo>
                  <a:pt x="5760640" y="3399731"/>
                  <a:pt x="5740995" y="3414688"/>
                  <a:pt x="5722838" y="3423171"/>
                </a:cubicBezTo>
                <a:cubicBezTo>
                  <a:pt x="5704681" y="3431654"/>
                  <a:pt x="5684292" y="3435896"/>
                  <a:pt x="5661670" y="3435896"/>
                </a:cubicBezTo>
                <a:cubicBezTo>
                  <a:pt x="5622974" y="3435896"/>
                  <a:pt x="5594176" y="3423171"/>
                  <a:pt x="5575275" y="3397721"/>
                </a:cubicBezTo>
                <a:cubicBezTo>
                  <a:pt x="5556374" y="3372272"/>
                  <a:pt x="5546774" y="3332609"/>
                  <a:pt x="5546477" y="3278733"/>
                </a:cubicBezTo>
                <a:lnTo>
                  <a:pt x="5829548" y="3278733"/>
                </a:lnTo>
                <a:cubicBezTo>
                  <a:pt x="5829250" y="3243610"/>
                  <a:pt x="5826125" y="3213695"/>
                  <a:pt x="5820172" y="3188990"/>
                </a:cubicBezTo>
                <a:cubicBezTo>
                  <a:pt x="5814516" y="3164880"/>
                  <a:pt x="5806033" y="3143449"/>
                  <a:pt x="5794722" y="3124696"/>
                </a:cubicBezTo>
                <a:cubicBezTo>
                  <a:pt x="5785197" y="3108920"/>
                  <a:pt x="5773142" y="3095451"/>
                  <a:pt x="5758557" y="3084289"/>
                </a:cubicBezTo>
                <a:cubicBezTo>
                  <a:pt x="5743972" y="3073127"/>
                  <a:pt x="5726484" y="3064421"/>
                  <a:pt x="5706095" y="3058170"/>
                </a:cubicBezTo>
                <a:cubicBezTo>
                  <a:pt x="5685705" y="3051919"/>
                  <a:pt x="5661967" y="3048794"/>
                  <a:pt x="5634881" y="3048794"/>
                </a:cubicBezTo>
                <a:close/>
                <a:moveTo>
                  <a:pt x="5224710" y="3048794"/>
                </a:moveTo>
                <a:cubicBezTo>
                  <a:pt x="5179764" y="3048794"/>
                  <a:pt x="5139878" y="3057947"/>
                  <a:pt x="5105053" y="3076253"/>
                </a:cubicBezTo>
                <a:cubicBezTo>
                  <a:pt x="5070227" y="3094559"/>
                  <a:pt x="5043512" y="3121496"/>
                  <a:pt x="5024908" y="3157066"/>
                </a:cubicBezTo>
                <a:cubicBezTo>
                  <a:pt x="5006305" y="3192636"/>
                  <a:pt x="4997003" y="3234829"/>
                  <a:pt x="4997003" y="3283645"/>
                </a:cubicBezTo>
                <a:cubicBezTo>
                  <a:pt x="4997003" y="3355975"/>
                  <a:pt x="5013970" y="3411116"/>
                  <a:pt x="5047902" y="3449067"/>
                </a:cubicBezTo>
                <a:cubicBezTo>
                  <a:pt x="5081835" y="3487018"/>
                  <a:pt x="5131097" y="3505994"/>
                  <a:pt x="5195689" y="3505994"/>
                </a:cubicBezTo>
                <a:cubicBezTo>
                  <a:pt x="5227836" y="3505994"/>
                  <a:pt x="5257527" y="3499818"/>
                  <a:pt x="5284763" y="3487465"/>
                </a:cubicBezTo>
                <a:cubicBezTo>
                  <a:pt x="5311998" y="3475112"/>
                  <a:pt x="5340201" y="3454648"/>
                  <a:pt x="5369371" y="3426073"/>
                </a:cubicBezTo>
                <a:lnTo>
                  <a:pt x="5334992" y="3384550"/>
                </a:lnTo>
                <a:cubicBezTo>
                  <a:pt x="5314156" y="3403898"/>
                  <a:pt x="5296073" y="3417292"/>
                  <a:pt x="5280744" y="3424734"/>
                </a:cubicBezTo>
                <a:cubicBezTo>
                  <a:pt x="5265415" y="3432175"/>
                  <a:pt x="5249118" y="3435896"/>
                  <a:pt x="5231854" y="3435896"/>
                </a:cubicBezTo>
                <a:cubicBezTo>
                  <a:pt x="5208042" y="3435896"/>
                  <a:pt x="5188843" y="3429422"/>
                  <a:pt x="5174258" y="3416474"/>
                </a:cubicBezTo>
                <a:cubicBezTo>
                  <a:pt x="5159672" y="3403526"/>
                  <a:pt x="5149106" y="3385071"/>
                  <a:pt x="5142557" y="3361110"/>
                </a:cubicBezTo>
                <a:cubicBezTo>
                  <a:pt x="5136009" y="3337148"/>
                  <a:pt x="5132735" y="3307755"/>
                  <a:pt x="5132735" y="3272929"/>
                </a:cubicBezTo>
                <a:cubicBezTo>
                  <a:pt x="5132735" y="3238103"/>
                  <a:pt x="5134967" y="3209305"/>
                  <a:pt x="5139432" y="3186534"/>
                </a:cubicBezTo>
                <a:cubicBezTo>
                  <a:pt x="5143897" y="3163764"/>
                  <a:pt x="5149924" y="3145607"/>
                  <a:pt x="5157514" y="3132063"/>
                </a:cubicBezTo>
                <a:cubicBezTo>
                  <a:pt x="5165105" y="3118520"/>
                  <a:pt x="5173886" y="3108995"/>
                  <a:pt x="5183857" y="3103488"/>
                </a:cubicBezTo>
                <a:cubicBezTo>
                  <a:pt x="5193829" y="3097982"/>
                  <a:pt x="5204321" y="3095228"/>
                  <a:pt x="5215334" y="3095228"/>
                </a:cubicBezTo>
                <a:cubicBezTo>
                  <a:pt x="5232003" y="3095228"/>
                  <a:pt x="5244802" y="3101628"/>
                  <a:pt x="5253732" y="3114427"/>
                </a:cubicBezTo>
                <a:cubicBezTo>
                  <a:pt x="5262662" y="3127226"/>
                  <a:pt x="5269359" y="3147616"/>
                  <a:pt x="5273824" y="3175595"/>
                </a:cubicBezTo>
                <a:lnTo>
                  <a:pt x="5362228" y="3175595"/>
                </a:lnTo>
                <a:lnTo>
                  <a:pt x="5362228" y="3067993"/>
                </a:lnTo>
                <a:cubicBezTo>
                  <a:pt x="5342582" y="3062040"/>
                  <a:pt x="5320779" y="3057351"/>
                  <a:pt x="5296818" y="3053928"/>
                </a:cubicBezTo>
                <a:cubicBezTo>
                  <a:pt x="5272856" y="3050505"/>
                  <a:pt x="5248821" y="3048794"/>
                  <a:pt x="5224710" y="3048794"/>
                </a:cubicBezTo>
                <a:close/>
                <a:moveTo>
                  <a:pt x="4754860" y="3048794"/>
                </a:moveTo>
                <a:cubicBezTo>
                  <a:pt x="4737893" y="3048794"/>
                  <a:pt x="4721746" y="3051547"/>
                  <a:pt x="4706416" y="3057054"/>
                </a:cubicBezTo>
                <a:cubicBezTo>
                  <a:pt x="4691087" y="3062560"/>
                  <a:pt x="4676427" y="3070002"/>
                  <a:pt x="4662438" y="3079378"/>
                </a:cubicBezTo>
                <a:cubicBezTo>
                  <a:pt x="4648448" y="3088754"/>
                  <a:pt x="4632225" y="3101628"/>
                  <a:pt x="4613771" y="3117999"/>
                </a:cubicBezTo>
                <a:lnTo>
                  <a:pt x="4608413" y="3116660"/>
                </a:lnTo>
                <a:lnTo>
                  <a:pt x="4615110" y="3052366"/>
                </a:lnTo>
                <a:lnTo>
                  <a:pt x="4558853" y="3052366"/>
                </a:lnTo>
                <a:lnTo>
                  <a:pt x="4436516" y="3055938"/>
                </a:lnTo>
                <a:lnTo>
                  <a:pt x="4436516" y="3086299"/>
                </a:lnTo>
                <a:cubicBezTo>
                  <a:pt x="4450804" y="3089275"/>
                  <a:pt x="4460850" y="3092773"/>
                  <a:pt x="4466654" y="3096791"/>
                </a:cubicBezTo>
                <a:cubicBezTo>
                  <a:pt x="4472458" y="3100809"/>
                  <a:pt x="4476774" y="3106018"/>
                  <a:pt x="4479602" y="3112418"/>
                </a:cubicBezTo>
                <a:cubicBezTo>
                  <a:pt x="4482430" y="3118818"/>
                  <a:pt x="4484216" y="3127301"/>
                  <a:pt x="4484960" y="3137868"/>
                </a:cubicBezTo>
                <a:cubicBezTo>
                  <a:pt x="4485704" y="3148434"/>
                  <a:pt x="4486076" y="3164731"/>
                  <a:pt x="4486076" y="3186758"/>
                </a:cubicBezTo>
                <a:lnTo>
                  <a:pt x="4486076" y="3370263"/>
                </a:lnTo>
                <a:cubicBezTo>
                  <a:pt x="4486076" y="3398540"/>
                  <a:pt x="4485109" y="3418036"/>
                  <a:pt x="4483174" y="3428752"/>
                </a:cubicBezTo>
                <a:cubicBezTo>
                  <a:pt x="4481239" y="3439468"/>
                  <a:pt x="4477519" y="3447951"/>
                  <a:pt x="4472012" y="3454202"/>
                </a:cubicBezTo>
                <a:cubicBezTo>
                  <a:pt x="4466505" y="3460452"/>
                  <a:pt x="4456608" y="3465513"/>
                  <a:pt x="4442321" y="3469382"/>
                </a:cubicBezTo>
                <a:lnTo>
                  <a:pt x="4442321" y="3498850"/>
                </a:lnTo>
                <a:lnTo>
                  <a:pt x="4657973" y="3498850"/>
                </a:lnTo>
                <a:lnTo>
                  <a:pt x="4657973" y="3469382"/>
                </a:lnTo>
                <a:cubicBezTo>
                  <a:pt x="4643983" y="3466108"/>
                  <a:pt x="4634235" y="3461271"/>
                  <a:pt x="4628728" y="3454871"/>
                </a:cubicBezTo>
                <a:cubicBezTo>
                  <a:pt x="4623221" y="3448472"/>
                  <a:pt x="4619575" y="3439765"/>
                  <a:pt x="4617789" y="3428752"/>
                </a:cubicBezTo>
                <a:cubicBezTo>
                  <a:pt x="4616003" y="3417739"/>
                  <a:pt x="4615110" y="3398093"/>
                  <a:pt x="4615110" y="3369816"/>
                </a:cubicBezTo>
                <a:lnTo>
                  <a:pt x="4615110" y="3197920"/>
                </a:lnTo>
                <a:cubicBezTo>
                  <a:pt x="4615110" y="3183930"/>
                  <a:pt x="4619277" y="3170759"/>
                  <a:pt x="4627612" y="3158406"/>
                </a:cubicBezTo>
                <a:cubicBezTo>
                  <a:pt x="4635946" y="3146053"/>
                  <a:pt x="4646215" y="3136379"/>
                  <a:pt x="4658419" y="3129384"/>
                </a:cubicBezTo>
                <a:cubicBezTo>
                  <a:pt x="4670623" y="3122389"/>
                  <a:pt x="4682381" y="3118892"/>
                  <a:pt x="4693691" y="3118892"/>
                </a:cubicBezTo>
                <a:cubicBezTo>
                  <a:pt x="4702026" y="3118892"/>
                  <a:pt x="4708872" y="3119785"/>
                  <a:pt x="4714230" y="3121571"/>
                </a:cubicBezTo>
                <a:cubicBezTo>
                  <a:pt x="4719588" y="3123357"/>
                  <a:pt x="4724350" y="3126110"/>
                  <a:pt x="4728517" y="3129831"/>
                </a:cubicBezTo>
                <a:cubicBezTo>
                  <a:pt x="4732684" y="3133551"/>
                  <a:pt x="4736480" y="3138314"/>
                  <a:pt x="4739903" y="3144118"/>
                </a:cubicBezTo>
                <a:cubicBezTo>
                  <a:pt x="4743326" y="3149923"/>
                  <a:pt x="4746005" y="3157141"/>
                  <a:pt x="4747939" y="3165773"/>
                </a:cubicBezTo>
                <a:cubicBezTo>
                  <a:pt x="4749874" y="3174405"/>
                  <a:pt x="4751288" y="3185493"/>
                  <a:pt x="4752181" y="3199036"/>
                </a:cubicBezTo>
                <a:cubicBezTo>
                  <a:pt x="4753074" y="3212579"/>
                  <a:pt x="4753520" y="3229918"/>
                  <a:pt x="4753520" y="3251051"/>
                </a:cubicBezTo>
                <a:lnTo>
                  <a:pt x="4753520" y="3370263"/>
                </a:lnTo>
                <a:cubicBezTo>
                  <a:pt x="4753520" y="3398540"/>
                  <a:pt x="4752553" y="3418111"/>
                  <a:pt x="4750618" y="3428975"/>
                </a:cubicBezTo>
                <a:cubicBezTo>
                  <a:pt x="4748683" y="3439840"/>
                  <a:pt x="4745037" y="3448472"/>
                  <a:pt x="4739679" y="3454871"/>
                </a:cubicBezTo>
                <a:cubicBezTo>
                  <a:pt x="4734322" y="3461271"/>
                  <a:pt x="4724797" y="3466108"/>
                  <a:pt x="4711104" y="3469382"/>
                </a:cubicBezTo>
                <a:lnTo>
                  <a:pt x="4711104" y="3498850"/>
                </a:lnTo>
                <a:lnTo>
                  <a:pt x="4927649" y="3498850"/>
                </a:lnTo>
                <a:lnTo>
                  <a:pt x="4927649" y="3469382"/>
                </a:lnTo>
                <a:cubicBezTo>
                  <a:pt x="4919613" y="3467299"/>
                  <a:pt x="4912766" y="3464768"/>
                  <a:pt x="4907111" y="3461792"/>
                </a:cubicBezTo>
                <a:cubicBezTo>
                  <a:pt x="4901456" y="3458815"/>
                  <a:pt x="4897065" y="3455169"/>
                  <a:pt x="4893940" y="3450853"/>
                </a:cubicBezTo>
                <a:cubicBezTo>
                  <a:pt x="4890814" y="3446537"/>
                  <a:pt x="4888359" y="3440956"/>
                  <a:pt x="4886573" y="3434110"/>
                </a:cubicBezTo>
                <a:cubicBezTo>
                  <a:pt x="4884787" y="3427264"/>
                  <a:pt x="4883671" y="3418111"/>
                  <a:pt x="4883224" y="3406651"/>
                </a:cubicBezTo>
                <a:cubicBezTo>
                  <a:pt x="4882778" y="3395191"/>
                  <a:pt x="4882554" y="3382913"/>
                  <a:pt x="4882554" y="3369816"/>
                </a:cubicBezTo>
                <a:lnTo>
                  <a:pt x="4882554" y="3206403"/>
                </a:lnTo>
                <a:cubicBezTo>
                  <a:pt x="4882554" y="3180804"/>
                  <a:pt x="4880396" y="3158331"/>
                  <a:pt x="4876080" y="3138984"/>
                </a:cubicBezTo>
                <a:cubicBezTo>
                  <a:pt x="4871764" y="3119636"/>
                  <a:pt x="4864621" y="3103265"/>
                  <a:pt x="4854649" y="3089870"/>
                </a:cubicBezTo>
                <a:cubicBezTo>
                  <a:pt x="4844678" y="3076476"/>
                  <a:pt x="4831655" y="3066281"/>
                  <a:pt x="4815582" y="3059286"/>
                </a:cubicBezTo>
                <a:cubicBezTo>
                  <a:pt x="4799508" y="3052291"/>
                  <a:pt x="4779268" y="3048794"/>
                  <a:pt x="4754860" y="3048794"/>
                </a:cubicBezTo>
                <a:close/>
                <a:moveTo>
                  <a:pt x="4183360" y="3048794"/>
                </a:moveTo>
                <a:cubicBezTo>
                  <a:pt x="4169370" y="3048794"/>
                  <a:pt x="4155380" y="3049687"/>
                  <a:pt x="4141390" y="3051473"/>
                </a:cubicBezTo>
                <a:cubicBezTo>
                  <a:pt x="4127400" y="3053259"/>
                  <a:pt x="4111550" y="3056310"/>
                  <a:pt x="4093840" y="3060626"/>
                </a:cubicBezTo>
                <a:cubicBezTo>
                  <a:pt x="4076129" y="3064942"/>
                  <a:pt x="4058195" y="3070374"/>
                  <a:pt x="4040038" y="3076922"/>
                </a:cubicBezTo>
                <a:cubicBezTo>
                  <a:pt x="4021881" y="3083471"/>
                  <a:pt x="3999111" y="3092847"/>
                  <a:pt x="3971726" y="3105051"/>
                </a:cubicBezTo>
                <a:lnTo>
                  <a:pt x="3971726" y="3186311"/>
                </a:lnTo>
                <a:lnTo>
                  <a:pt x="4056112" y="3186311"/>
                </a:lnTo>
                <a:cubicBezTo>
                  <a:pt x="4059981" y="3162796"/>
                  <a:pt x="4065934" y="3144416"/>
                  <a:pt x="4073971" y="3131170"/>
                </a:cubicBezTo>
                <a:cubicBezTo>
                  <a:pt x="4082008" y="3117925"/>
                  <a:pt x="4091012" y="3108920"/>
                  <a:pt x="4100983" y="3104158"/>
                </a:cubicBezTo>
                <a:cubicBezTo>
                  <a:pt x="4110955" y="3099395"/>
                  <a:pt x="4122787" y="3097014"/>
                  <a:pt x="4136479" y="3097014"/>
                </a:cubicBezTo>
                <a:cubicBezTo>
                  <a:pt x="4150171" y="3097014"/>
                  <a:pt x="4161929" y="3100065"/>
                  <a:pt x="4171751" y="3106167"/>
                </a:cubicBezTo>
                <a:cubicBezTo>
                  <a:pt x="4181574" y="3112269"/>
                  <a:pt x="4189611" y="3122836"/>
                  <a:pt x="4195861" y="3137868"/>
                </a:cubicBezTo>
                <a:cubicBezTo>
                  <a:pt x="4202112" y="3152899"/>
                  <a:pt x="4205238" y="3174256"/>
                  <a:pt x="4205238" y="3201938"/>
                </a:cubicBezTo>
                <a:lnTo>
                  <a:pt x="4205238" y="3244354"/>
                </a:lnTo>
                <a:cubicBezTo>
                  <a:pt x="4117727" y="3250902"/>
                  <a:pt x="4052466" y="3266753"/>
                  <a:pt x="4009454" y="3291905"/>
                </a:cubicBezTo>
                <a:cubicBezTo>
                  <a:pt x="3966443" y="3317057"/>
                  <a:pt x="3944937" y="3351510"/>
                  <a:pt x="3944937" y="3395266"/>
                </a:cubicBezTo>
                <a:cubicBezTo>
                  <a:pt x="3944937" y="3416995"/>
                  <a:pt x="3949774" y="3436193"/>
                  <a:pt x="3959448" y="3452862"/>
                </a:cubicBezTo>
                <a:cubicBezTo>
                  <a:pt x="3969122" y="3469531"/>
                  <a:pt x="3983409" y="3482553"/>
                  <a:pt x="4002310" y="3491930"/>
                </a:cubicBezTo>
                <a:cubicBezTo>
                  <a:pt x="4021212" y="3501306"/>
                  <a:pt x="4043461" y="3505994"/>
                  <a:pt x="4069060" y="3505994"/>
                </a:cubicBezTo>
                <a:cubicBezTo>
                  <a:pt x="4094956" y="3505994"/>
                  <a:pt x="4119438" y="3500636"/>
                  <a:pt x="4142507" y="3489920"/>
                </a:cubicBezTo>
                <a:cubicBezTo>
                  <a:pt x="4165575" y="3479205"/>
                  <a:pt x="4189313" y="3461941"/>
                  <a:pt x="4213721" y="3438128"/>
                </a:cubicBezTo>
                <a:lnTo>
                  <a:pt x="4220418" y="3440361"/>
                </a:lnTo>
                <a:lnTo>
                  <a:pt x="4216400" y="3498850"/>
                </a:lnTo>
                <a:lnTo>
                  <a:pt x="4382492" y="3498850"/>
                </a:lnTo>
                <a:lnTo>
                  <a:pt x="4382492" y="3469382"/>
                </a:lnTo>
                <a:cubicBezTo>
                  <a:pt x="4370586" y="3466406"/>
                  <a:pt x="4362474" y="3463950"/>
                  <a:pt x="4358158" y="3462015"/>
                </a:cubicBezTo>
                <a:cubicBezTo>
                  <a:pt x="4353842" y="3460080"/>
                  <a:pt x="4350196" y="3457550"/>
                  <a:pt x="4347220" y="3454425"/>
                </a:cubicBezTo>
                <a:cubicBezTo>
                  <a:pt x="4344243" y="3451300"/>
                  <a:pt x="4341787" y="3447132"/>
                  <a:pt x="4339853" y="3441923"/>
                </a:cubicBezTo>
                <a:cubicBezTo>
                  <a:pt x="4337918" y="3436714"/>
                  <a:pt x="4336504" y="3428752"/>
                  <a:pt x="4335611" y="3418036"/>
                </a:cubicBezTo>
                <a:cubicBezTo>
                  <a:pt x="4334718" y="3407321"/>
                  <a:pt x="4334272" y="3392140"/>
                  <a:pt x="4334272" y="3372495"/>
                </a:cubicBezTo>
                <a:lnTo>
                  <a:pt x="4334272" y="3198366"/>
                </a:lnTo>
                <a:cubicBezTo>
                  <a:pt x="4334272" y="3160564"/>
                  <a:pt x="4328914" y="3130947"/>
                  <a:pt x="4318198" y="3109516"/>
                </a:cubicBezTo>
                <a:cubicBezTo>
                  <a:pt x="4307483" y="3088085"/>
                  <a:pt x="4291335" y="3072606"/>
                  <a:pt x="4269755" y="3063081"/>
                </a:cubicBezTo>
                <a:cubicBezTo>
                  <a:pt x="4248174" y="3053556"/>
                  <a:pt x="4219376" y="3048794"/>
                  <a:pt x="4183360" y="3048794"/>
                </a:cubicBezTo>
                <a:close/>
                <a:moveTo>
                  <a:pt x="3716635" y="3048794"/>
                </a:moveTo>
                <a:cubicBezTo>
                  <a:pt x="3699668" y="3048794"/>
                  <a:pt x="3683521" y="3051547"/>
                  <a:pt x="3668191" y="3057054"/>
                </a:cubicBezTo>
                <a:cubicBezTo>
                  <a:pt x="3652862" y="3062560"/>
                  <a:pt x="3638202" y="3070002"/>
                  <a:pt x="3624213" y="3079378"/>
                </a:cubicBezTo>
                <a:cubicBezTo>
                  <a:pt x="3610223" y="3088754"/>
                  <a:pt x="3594000" y="3101628"/>
                  <a:pt x="3575546" y="3117999"/>
                </a:cubicBezTo>
                <a:lnTo>
                  <a:pt x="3570188" y="3116660"/>
                </a:lnTo>
                <a:lnTo>
                  <a:pt x="3576885" y="3052366"/>
                </a:lnTo>
                <a:lnTo>
                  <a:pt x="3520628" y="3052366"/>
                </a:lnTo>
                <a:lnTo>
                  <a:pt x="3398291" y="3055938"/>
                </a:lnTo>
                <a:lnTo>
                  <a:pt x="3398291" y="3086299"/>
                </a:lnTo>
                <a:cubicBezTo>
                  <a:pt x="3412579" y="3089275"/>
                  <a:pt x="3422625" y="3092773"/>
                  <a:pt x="3428429" y="3096791"/>
                </a:cubicBezTo>
                <a:cubicBezTo>
                  <a:pt x="3434233" y="3100809"/>
                  <a:pt x="3438549" y="3106018"/>
                  <a:pt x="3441377" y="3112418"/>
                </a:cubicBezTo>
                <a:cubicBezTo>
                  <a:pt x="3444205" y="3118818"/>
                  <a:pt x="3445991" y="3127301"/>
                  <a:pt x="3446735" y="3137868"/>
                </a:cubicBezTo>
                <a:cubicBezTo>
                  <a:pt x="3447479" y="3148434"/>
                  <a:pt x="3447851" y="3164731"/>
                  <a:pt x="3447851" y="3186758"/>
                </a:cubicBezTo>
                <a:lnTo>
                  <a:pt x="3447851" y="3370263"/>
                </a:lnTo>
                <a:cubicBezTo>
                  <a:pt x="3447851" y="3398540"/>
                  <a:pt x="3446884" y="3418036"/>
                  <a:pt x="3444949" y="3428752"/>
                </a:cubicBezTo>
                <a:cubicBezTo>
                  <a:pt x="3443014" y="3439468"/>
                  <a:pt x="3439294" y="3447951"/>
                  <a:pt x="3433787" y="3454202"/>
                </a:cubicBezTo>
                <a:cubicBezTo>
                  <a:pt x="3428280" y="3460452"/>
                  <a:pt x="3418383" y="3465513"/>
                  <a:pt x="3404096" y="3469382"/>
                </a:cubicBezTo>
                <a:lnTo>
                  <a:pt x="3404096" y="3498850"/>
                </a:lnTo>
                <a:lnTo>
                  <a:pt x="3619748" y="3498850"/>
                </a:lnTo>
                <a:lnTo>
                  <a:pt x="3619748" y="3469382"/>
                </a:lnTo>
                <a:cubicBezTo>
                  <a:pt x="3605758" y="3466108"/>
                  <a:pt x="3596010" y="3461271"/>
                  <a:pt x="3590503" y="3454871"/>
                </a:cubicBezTo>
                <a:cubicBezTo>
                  <a:pt x="3584996" y="3448472"/>
                  <a:pt x="3581350" y="3439765"/>
                  <a:pt x="3579564" y="3428752"/>
                </a:cubicBezTo>
                <a:cubicBezTo>
                  <a:pt x="3577778" y="3417739"/>
                  <a:pt x="3576885" y="3398093"/>
                  <a:pt x="3576885" y="3369816"/>
                </a:cubicBezTo>
                <a:lnTo>
                  <a:pt x="3576885" y="3197920"/>
                </a:lnTo>
                <a:cubicBezTo>
                  <a:pt x="3576885" y="3183930"/>
                  <a:pt x="3581052" y="3170759"/>
                  <a:pt x="3589387" y="3158406"/>
                </a:cubicBezTo>
                <a:cubicBezTo>
                  <a:pt x="3597721" y="3146053"/>
                  <a:pt x="3607990" y="3136379"/>
                  <a:pt x="3620194" y="3129384"/>
                </a:cubicBezTo>
                <a:cubicBezTo>
                  <a:pt x="3632398" y="3122389"/>
                  <a:pt x="3644156" y="3118892"/>
                  <a:pt x="3655466" y="3118892"/>
                </a:cubicBezTo>
                <a:cubicBezTo>
                  <a:pt x="3663801" y="3118892"/>
                  <a:pt x="3670647" y="3119785"/>
                  <a:pt x="3676005" y="3121571"/>
                </a:cubicBezTo>
                <a:cubicBezTo>
                  <a:pt x="3681363" y="3123357"/>
                  <a:pt x="3686125" y="3126110"/>
                  <a:pt x="3690292" y="3129831"/>
                </a:cubicBezTo>
                <a:cubicBezTo>
                  <a:pt x="3694459" y="3133551"/>
                  <a:pt x="3698255" y="3138314"/>
                  <a:pt x="3701678" y="3144118"/>
                </a:cubicBezTo>
                <a:cubicBezTo>
                  <a:pt x="3705101" y="3149923"/>
                  <a:pt x="3707780" y="3157141"/>
                  <a:pt x="3709714" y="3165773"/>
                </a:cubicBezTo>
                <a:cubicBezTo>
                  <a:pt x="3711649" y="3174405"/>
                  <a:pt x="3713063" y="3185493"/>
                  <a:pt x="3713956" y="3199036"/>
                </a:cubicBezTo>
                <a:cubicBezTo>
                  <a:pt x="3714849" y="3212579"/>
                  <a:pt x="3715295" y="3229918"/>
                  <a:pt x="3715295" y="3251051"/>
                </a:cubicBezTo>
                <a:lnTo>
                  <a:pt x="3715295" y="3370263"/>
                </a:lnTo>
                <a:cubicBezTo>
                  <a:pt x="3715295" y="3398540"/>
                  <a:pt x="3714328" y="3418111"/>
                  <a:pt x="3712393" y="3428975"/>
                </a:cubicBezTo>
                <a:cubicBezTo>
                  <a:pt x="3710458" y="3439840"/>
                  <a:pt x="3706812" y="3448472"/>
                  <a:pt x="3701454" y="3454871"/>
                </a:cubicBezTo>
                <a:cubicBezTo>
                  <a:pt x="3696097" y="3461271"/>
                  <a:pt x="3686572" y="3466108"/>
                  <a:pt x="3672879" y="3469382"/>
                </a:cubicBezTo>
                <a:lnTo>
                  <a:pt x="3672879" y="3498850"/>
                </a:lnTo>
                <a:lnTo>
                  <a:pt x="3889424" y="3498850"/>
                </a:lnTo>
                <a:lnTo>
                  <a:pt x="3889424" y="3469382"/>
                </a:lnTo>
                <a:cubicBezTo>
                  <a:pt x="3881388" y="3467299"/>
                  <a:pt x="3874541" y="3464768"/>
                  <a:pt x="3868886" y="3461792"/>
                </a:cubicBezTo>
                <a:cubicBezTo>
                  <a:pt x="3863231" y="3458815"/>
                  <a:pt x="3858840" y="3455169"/>
                  <a:pt x="3855715" y="3450853"/>
                </a:cubicBezTo>
                <a:cubicBezTo>
                  <a:pt x="3852589" y="3446537"/>
                  <a:pt x="3850134" y="3440956"/>
                  <a:pt x="3848348" y="3434110"/>
                </a:cubicBezTo>
                <a:cubicBezTo>
                  <a:pt x="3846562" y="3427264"/>
                  <a:pt x="3845446" y="3418111"/>
                  <a:pt x="3844999" y="3406651"/>
                </a:cubicBezTo>
                <a:cubicBezTo>
                  <a:pt x="3844553" y="3395191"/>
                  <a:pt x="3844329" y="3382913"/>
                  <a:pt x="3844329" y="3369816"/>
                </a:cubicBezTo>
                <a:lnTo>
                  <a:pt x="3844329" y="3206403"/>
                </a:lnTo>
                <a:cubicBezTo>
                  <a:pt x="3844329" y="3180804"/>
                  <a:pt x="3842171" y="3158331"/>
                  <a:pt x="3837855" y="3138984"/>
                </a:cubicBezTo>
                <a:cubicBezTo>
                  <a:pt x="3833539" y="3119636"/>
                  <a:pt x="3826396" y="3103265"/>
                  <a:pt x="3816424" y="3089870"/>
                </a:cubicBezTo>
                <a:cubicBezTo>
                  <a:pt x="3806453" y="3076476"/>
                  <a:pt x="3793430" y="3066281"/>
                  <a:pt x="3777357" y="3059286"/>
                </a:cubicBezTo>
                <a:cubicBezTo>
                  <a:pt x="3761283" y="3052291"/>
                  <a:pt x="3741043" y="3048794"/>
                  <a:pt x="3716635" y="3048794"/>
                </a:cubicBezTo>
                <a:close/>
                <a:moveTo>
                  <a:pt x="3298874" y="3048794"/>
                </a:moveTo>
                <a:cubicBezTo>
                  <a:pt x="3272085" y="3048794"/>
                  <a:pt x="3247231" y="3054449"/>
                  <a:pt x="3224311" y="3065760"/>
                </a:cubicBezTo>
                <a:cubicBezTo>
                  <a:pt x="3201392" y="3077071"/>
                  <a:pt x="3179068" y="3095526"/>
                  <a:pt x="3157339" y="3121124"/>
                </a:cubicBezTo>
                <a:lnTo>
                  <a:pt x="3151535" y="3119785"/>
                </a:lnTo>
                <a:lnTo>
                  <a:pt x="3157785" y="3052366"/>
                </a:lnTo>
                <a:lnTo>
                  <a:pt x="3101528" y="3052366"/>
                </a:lnTo>
                <a:lnTo>
                  <a:pt x="2979192" y="3055938"/>
                </a:lnTo>
                <a:lnTo>
                  <a:pt x="2979192" y="3086299"/>
                </a:lnTo>
                <a:cubicBezTo>
                  <a:pt x="2993479" y="3089275"/>
                  <a:pt x="3003525" y="3092773"/>
                  <a:pt x="3009329" y="3096791"/>
                </a:cubicBezTo>
                <a:cubicBezTo>
                  <a:pt x="3015134" y="3100809"/>
                  <a:pt x="3019450" y="3106018"/>
                  <a:pt x="3022277" y="3112418"/>
                </a:cubicBezTo>
                <a:cubicBezTo>
                  <a:pt x="3025105" y="3118818"/>
                  <a:pt x="3026891" y="3127301"/>
                  <a:pt x="3027635" y="3137868"/>
                </a:cubicBezTo>
                <a:cubicBezTo>
                  <a:pt x="3028379" y="3148434"/>
                  <a:pt x="3028751" y="3164731"/>
                  <a:pt x="3028751" y="3186758"/>
                </a:cubicBezTo>
                <a:lnTo>
                  <a:pt x="3028751" y="3370263"/>
                </a:lnTo>
                <a:cubicBezTo>
                  <a:pt x="3028751" y="3398540"/>
                  <a:pt x="3027784" y="3418036"/>
                  <a:pt x="3025849" y="3428752"/>
                </a:cubicBezTo>
                <a:cubicBezTo>
                  <a:pt x="3023914" y="3439468"/>
                  <a:pt x="3020194" y="3447951"/>
                  <a:pt x="3014687" y="3454202"/>
                </a:cubicBezTo>
                <a:cubicBezTo>
                  <a:pt x="3009180" y="3460452"/>
                  <a:pt x="2999283" y="3465513"/>
                  <a:pt x="2984996" y="3469382"/>
                </a:cubicBezTo>
                <a:lnTo>
                  <a:pt x="2984996" y="3498850"/>
                </a:lnTo>
                <a:lnTo>
                  <a:pt x="3205113" y="3498850"/>
                </a:lnTo>
                <a:lnTo>
                  <a:pt x="3205113" y="3469382"/>
                </a:lnTo>
                <a:cubicBezTo>
                  <a:pt x="3190230" y="3466703"/>
                  <a:pt x="3179663" y="3462164"/>
                  <a:pt x="3173412" y="3455764"/>
                </a:cubicBezTo>
                <a:cubicBezTo>
                  <a:pt x="3167161" y="3449365"/>
                  <a:pt x="3162994" y="3440510"/>
                  <a:pt x="3160911" y="3429199"/>
                </a:cubicBezTo>
                <a:cubicBezTo>
                  <a:pt x="3158827" y="3417888"/>
                  <a:pt x="3157785" y="3398093"/>
                  <a:pt x="3157785" y="3369816"/>
                </a:cubicBezTo>
                <a:lnTo>
                  <a:pt x="3157785" y="3227388"/>
                </a:lnTo>
                <a:cubicBezTo>
                  <a:pt x="3157785" y="3211910"/>
                  <a:pt x="3158232" y="3200301"/>
                  <a:pt x="3159125" y="3192562"/>
                </a:cubicBezTo>
                <a:cubicBezTo>
                  <a:pt x="3160018" y="3184823"/>
                  <a:pt x="3161878" y="3177158"/>
                  <a:pt x="3164706" y="3169568"/>
                </a:cubicBezTo>
                <a:cubicBezTo>
                  <a:pt x="3167534" y="3161978"/>
                  <a:pt x="3172296" y="3154536"/>
                  <a:pt x="3178993" y="3147244"/>
                </a:cubicBezTo>
                <a:cubicBezTo>
                  <a:pt x="3185691" y="3139951"/>
                  <a:pt x="3192983" y="3134296"/>
                  <a:pt x="3200871" y="3130277"/>
                </a:cubicBezTo>
                <a:cubicBezTo>
                  <a:pt x="3208759" y="3126259"/>
                  <a:pt x="3215977" y="3124250"/>
                  <a:pt x="3222526" y="3124250"/>
                </a:cubicBezTo>
                <a:cubicBezTo>
                  <a:pt x="3236218" y="3124250"/>
                  <a:pt x="3247157" y="3128863"/>
                  <a:pt x="3255342" y="3138091"/>
                </a:cubicBezTo>
                <a:cubicBezTo>
                  <a:pt x="3263528" y="3147318"/>
                  <a:pt x="3270151" y="3160564"/>
                  <a:pt x="3275211" y="3177828"/>
                </a:cubicBezTo>
                <a:lnTo>
                  <a:pt x="3356024" y="3177828"/>
                </a:lnTo>
                <a:lnTo>
                  <a:pt x="3356024" y="3054598"/>
                </a:lnTo>
                <a:cubicBezTo>
                  <a:pt x="3336081" y="3050729"/>
                  <a:pt x="3317031" y="3048794"/>
                  <a:pt x="3298874" y="3048794"/>
                </a:cubicBezTo>
                <a:close/>
                <a:moveTo>
                  <a:pt x="2720231" y="3048794"/>
                </a:moveTo>
                <a:cubicBezTo>
                  <a:pt x="2676475" y="3048794"/>
                  <a:pt x="2638078" y="3057798"/>
                  <a:pt x="2605038" y="3075806"/>
                </a:cubicBezTo>
                <a:cubicBezTo>
                  <a:pt x="2571998" y="3093814"/>
                  <a:pt x="2546474" y="3120306"/>
                  <a:pt x="2528466" y="3155280"/>
                </a:cubicBezTo>
                <a:cubicBezTo>
                  <a:pt x="2510457" y="3190255"/>
                  <a:pt x="2501453" y="3231852"/>
                  <a:pt x="2501453" y="3280073"/>
                </a:cubicBezTo>
                <a:cubicBezTo>
                  <a:pt x="2501453" y="3354785"/>
                  <a:pt x="2518941" y="3411116"/>
                  <a:pt x="2553915" y="3449067"/>
                </a:cubicBezTo>
                <a:cubicBezTo>
                  <a:pt x="2588890" y="3487018"/>
                  <a:pt x="2641054" y="3505994"/>
                  <a:pt x="2710408" y="3505994"/>
                </a:cubicBezTo>
                <a:cubicBezTo>
                  <a:pt x="2749103" y="3505994"/>
                  <a:pt x="2783334" y="3499297"/>
                  <a:pt x="2813100" y="3485902"/>
                </a:cubicBezTo>
                <a:cubicBezTo>
                  <a:pt x="2842865" y="3472508"/>
                  <a:pt x="2872928" y="3449737"/>
                  <a:pt x="2903289" y="3417590"/>
                </a:cubicBezTo>
                <a:lnTo>
                  <a:pt x="2867124" y="3378299"/>
                </a:lnTo>
                <a:cubicBezTo>
                  <a:pt x="2845991" y="3399731"/>
                  <a:pt x="2826345" y="3414688"/>
                  <a:pt x="2808188" y="3423171"/>
                </a:cubicBezTo>
                <a:cubicBezTo>
                  <a:pt x="2790031" y="3431654"/>
                  <a:pt x="2769642" y="3435896"/>
                  <a:pt x="2747020" y="3435896"/>
                </a:cubicBezTo>
                <a:cubicBezTo>
                  <a:pt x="2708325" y="3435896"/>
                  <a:pt x="2679526" y="3423171"/>
                  <a:pt x="2660625" y="3397721"/>
                </a:cubicBezTo>
                <a:cubicBezTo>
                  <a:pt x="2641724" y="3372272"/>
                  <a:pt x="2632125" y="3332609"/>
                  <a:pt x="2631827" y="3278733"/>
                </a:cubicBezTo>
                <a:lnTo>
                  <a:pt x="2914898" y="3278733"/>
                </a:lnTo>
                <a:cubicBezTo>
                  <a:pt x="2914600" y="3243610"/>
                  <a:pt x="2911475" y="3213695"/>
                  <a:pt x="2905522" y="3188990"/>
                </a:cubicBezTo>
                <a:cubicBezTo>
                  <a:pt x="2899866" y="3164880"/>
                  <a:pt x="2891383" y="3143449"/>
                  <a:pt x="2880072" y="3124696"/>
                </a:cubicBezTo>
                <a:cubicBezTo>
                  <a:pt x="2870547" y="3108920"/>
                  <a:pt x="2858492" y="3095451"/>
                  <a:pt x="2843907" y="3084289"/>
                </a:cubicBezTo>
                <a:cubicBezTo>
                  <a:pt x="2829322" y="3073127"/>
                  <a:pt x="2811834" y="3064421"/>
                  <a:pt x="2791445" y="3058170"/>
                </a:cubicBezTo>
                <a:cubicBezTo>
                  <a:pt x="2771055" y="3051919"/>
                  <a:pt x="2747317" y="3048794"/>
                  <a:pt x="2720231" y="3048794"/>
                </a:cubicBezTo>
                <a:close/>
                <a:moveTo>
                  <a:pt x="1760885" y="3048794"/>
                </a:moveTo>
                <a:cubicBezTo>
                  <a:pt x="1729035" y="3048794"/>
                  <a:pt x="1699493" y="3053333"/>
                  <a:pt x="1672257" y="3062412"/>
                </a:cubicBezTo>
                <a:cubicBezTo>
                  <a:pt x="1645022" y="3071490"/>
                  <a:pt x="1621581" y="3085554"/>
                  <a:pt x="1601936" y="3104604"/>
                </a:cubicBezTo>
                <a:cubicBezTo>
                  <a:pt x="1582291" y="3123654"/>
                  <a:pt x="1566962" y="3147765"/>
                  <a:pt x="1555948" y="3176935"/>
                </a:cubicBezTo>
                <a:cubicBezTo>
                  <a:pt x="1544935" y="3206105"/>
                  <a:pt x="1539428" y="3240633"/>
                  <a:pt x="1539428" y="3280519"/>
                </a:cubicBezTo>
                <a:cubicBezTo>
                  <a:pt x="1539428" y="3332609"/>
                  <a:pt x="1548358" y="3375546"/>
                  <a:pt x="1566217" y="3409330"/>
                </a:cubicBezTo>
                <a:cubicBezTo>
                  <a:pt x="1584077" y="3443114"/>
                  <a:pt x="1608857" y="3467671"/>
                  <a:pt x="1640557" y="3483000"/>
                </a:cubicBezTo>
                <a:cubicBezTo>
                  <a:pt x="1672257" y="3498329"/>
                  <a:pt x="1709985" y="3505994"/>
                  <a:pt x="1753741" y="3505994"/>
                </a:cubicBezTo>
                <a:cubicBezTo>
                  <a:pt x="1800175" y="3505994"/>
                  <a:pt x="1840210" y="3497511"/>
                  <a:pt x="1873845" y="3480544"/>
                </a:cubicBezTo>
                <a:cubicBezTo>
                  <a:pt x="1907480" y="3463578"/>
                  <a:pt x="1933376" y="3437607"/>
                  <a:pt x="1951533" y="3402633"/>
                </a:cubicBezTo>
                <a:cubicBezTo>
                  <a:pt x="1969690" y="3367658"/>
                  <a:pt x="1978769" y="3324275"/>
                  <a:pt x="1978769" y="3272483"/>
                </a:cubicBezTo>
                <a:cubicBezTo>
                  <a:pt x="1978769" y="3199259"/>
                  <a:pt x="1960463" y="3143672"/>
                  <a:pt x="1923851" y="3105721"/>
                </a:cubicBezTo>
                <a:cubicBezTo>
                  <a:pt x="1887240" y="3067769"/>
                  <a:pt x="1832917" y="3048794"/>
                  <a:pt x="1760885" y="3048794"/>
                </a:cubicBezTo>
                <a:close/>
                <a:moveTo>
                  <a:pt x="1239986" y="2882255"/>
                </a:moveTo>
                <a:cubicBezTo>
                  <a:pt x="1201291" y="2882255"/>
                  <a:pt x="1165051" y="2888134"/>
                  <a:pt x="1131267" y="2899891"/>
                </a:cubicBezTo>
                <a:cubicBezTo>
                  <a:pt x="1097483" y="2911649"/>
                  <a:pt x="1067122" y="2930401"/>
                  <a:pt x="1040184" y="2956148"/>
                </a:cubicBezTo>
                <a:cubicBezTo>
                  <a:pt x="1013246" y="2981896"/>
                  <a:pt x="992187" y="3015308"/>
                  <a:pt x="977007" y="3056384"/>
                </a:cubicBezTo>
                <a:cubicBezTo>
                  <a:pt x="961826" y="3097461"/>
                  <a:pt x="954236" y="3145086"/>
                  <a:pt x="954236" y="3199259"/>
                </a:cubicBezTo>
                <a:cubicBezTo>
                  <a:pt x="954236" y="3302248"/>
                  <a:pt x="975593" y="3379118"/>
                  <a:pt x="1018307" y="3429868"/>
                </a:cubicBezTo>
                <a:cubicBezTo>
                  <a:pt x="1061020" y="3480619"/>
                  <a:pt x="1125835" y="3505994"/>
                  <a:pt x="1212751" y="3505994"/>
                </a:cubicBezTo>
                <a:cubicBezTo>
                  <a:pt x="1258590" y="3505994"/>
                  <a:pt x="1299220" y="3495129"/>
                  <a:pt x="1334641" y="3473401"/>
                </a:cubicBezTo>
                <a:lnTo>
                  <a:pt x="1365002" y="3505547"/>
                </a:lnTo>
                <a:lnTo>
                  <a:pt x="1429295" y="3492153"/>
                </a:lnTo>
                <a:lnTo>
                  <a:pt x="1429295" y="3323828"/>
                </a:lnTo>
                <a:cubicBezTo>
                  <a:pt x="1429295" y="3306862"/>
                  <a:pt x="1430263" y="3293691"/>
                  <a:pt x="1432198" y="3284314"/>
                </a:cubicBezTo>
                <a:cubicBezTo>
                  <a:pt x="1434132" y="3274938"/>
                  <a:pt x="1437779" y="3267422"/>
                  <a:pt x="1443137" y="3261767"/>
                </a:cubicBezTo>
                <a:cubicBezTo>
                  <a:pt x="1448494" y="3256111"/>
                  <a:pt x="1458615" y="3251051"/>
                  <a:pt x="1473497" y="3246586"/>
                </a:cubicBezTo>
                <a:lnTo>
                  <a:pt x="1473497" y="3217118"/>
                </a:lnTo>
                <a:lnTo>
                  <a:pt x="1244897" y="3217118"/>
                </a:lnTo>
                <a:lnTo>
                  <a:pt x="1244897" y="3246586"/>
                </a:lnTo>
                <a:cubicBezTo>
                  <a:pt x="1257697" y="3250456"/>
                  <a:pt x="1266626" y="3253879"/>
                  <a:pt x="1271687" y="3256856"/>
                </a:cubicBezTo>
                <a:cubicBezTo>
                  <a:pt x="1276747" y="3259832"/>
                  <a:pt x="1280839" y="3263702"/>
                  <a:pt x="1283965" y="3268464"/>
                </a:cubicBezTo>
                <a:cubicBezTo>
                  <a:pt x="1287090" y="3273227"/>
                  <a:pt x="1289397" y="3280445"/>
                  <a:pt x="1290885" y="3290119"/>
                </a:cubicBezTo>
                <a:cubicBezTo>
                  <a:pt x="1292374" y="3299793"/>
                  <a:pt x="1293118" y="3315940"/>
                  <a:pt x="1293118" y="3338562"/>
                </a:cubicBezTo>
                <a:lnTo>
                  <a:pt x="1293118" y="3355529"/>
                </a:lnTo>
                <a:cubicBezTo>
                  <a:pt x="1293118" y="3389759"/>
                  <a:pt x="1286867" y="3414688"/>
                  <a:pt x="1274365" y="3430315"/>
                </a:cubicBezTo>
                <a:cubicBezTo>
                  <a:pt x="1261864" y="3445942"/>
                  <a:pt x="1242516" y="3453755"/>
                  <a:pt x="1216322" y="3453755"/>
                </a:cubicBezTo>
                <a:cubicBezTo>
                  <a:pt x="1189831" y="3453755"/>
                  <a:pt x="1167581" y="3443188"/>
                  <a:pt x="1149573" y="3422055"/>
                </a:cubicBezTo>
                <a:cubicBezTo>
                  <a:pt x="1131565" y="3400921"/>
                  <a:pt x="1118170" y="3371230"/>
                  <a:pt x="1109389" y="3332981"/>
                </a:cubicBezTo>
                <a:cubicBezTo>
                  <a:pt x="1100608" y="3294732"/>
                  <a:pt x="1096218" y="3249563"/>
                  <a:pt x="1096218" y="3197473"/>
                </a:cubicBezTo>
                <a:cubicBezTo>
                  <a:pt x="1096218" y="3137049"/>
                  <a:pt x="1102767" y="3087117"/>
                  <a:pt x="1115863" y="3047678"/>
                </a:cubicBezTo>
                <a:cubicBezTo>
                  <a:pt x="1128960" y="3008238"/>
                  <a:pt x="1146820" y="2979514"/>
                  <a:pt x="1169442" y="2961506"/>
                </a:cubicBezTo>
                <a:cubicBezTo>
                  <a:pt x="1192063" y="2943498"/>
                  <a:pt x="1218108" y="2934494"/>
                  <a:pt x="1247576" y="2934494"/>
                </a:cubicBezTo>
                <a:cubicBezTo>
                  <a:pt x="1269305" y="2934494"/>
                  <a:pt x="1287090" y="2937843"/>
                  <a:pt x="1300931" y="2944540"/>
                </a:cubicBezTo>
                <a:cubicBezTo>
                  <a:pt x="1314772" y="2951237"/>
                  <a:pt x="1326083" y="2961357"/>
                  <a:pt x="1334864" y="2974901"/>
                </a:cubicBezTo>
                <a:cubicBezTo>
                  <a:pt x="1343645" y="2988444"/>
                  <a:pt x="1351458" y="3007717"/>
                  <a:pt x="1358305" y="3032720"/>
                </a:cubicBezTo>
                <a:lnTo>
                  <a:pt x="1419473" y="3032720"/>
                </a:lnTo>
                <a:lnTo>
                  <a:pt x="1419473" y="2905919"/>
                </a:lnTo>
                <a:cubicBezTo>
                  <a:pt x="1365002" y="2890143"/>
                  <a:pt x="1305173" y="2882255"/>
                  <a:pt x="1239986" y="2882255"/>
                </a:cubicBezTo>
                <a:close/>
                <a:moveTo>
                  <a:pt x="3922763" y="1999854"/>
                </a:moveTo>
                <a:cubicBezTo>
                  <a:pt x="3946575" y="1999854"/>
                  <a:pt x="3963839" y="2011016"/>
                  <a:pt x="3974555" y="2033341"/>
                </a:cubicBezTo>
                <a:cubicBezTo>
                  <a:pt x="3985271" y="2055665"/>
                  <a:pt x="3991224" y="2089598"/>
                  <a:pt x="3992414" y="2135139"/>
                </a:cubicBezTo>
                <a:lnTo>
                  <a:pt x="3843735" y="2135139"/>
                </a:lnTo>
                <a:cubicBezTo>
                  <a:pt x="3846414" y="2091383"/>
                  <a:pt x="3854525" y="2057897"/>
                  <a:pt x="3868068" y="2034680"/>
                </a:cubicBezTo>
                <a:cubicBezTo>
                  <a:pt x="3881612" y="2011463"/>
                  <a:pt x="3899843" y="1999854"/>
                  <a:pt x="3922763" y="1999854"/>
                </a:cubicBezTo>
                <a:close/>
                <a:moveTo>
                  <a:pt x="3436988" y="1999854"/>
                </a:moveTo>
                <a:cubicBezTo>
                  <a:pt x="3460800" y="1999854"/>
                  <a:pt x="3478064" y="2011016"/>
                  <a:pt x="3488780" y="2033341"/>
                </a:cubicBezTo>
                <a:cubicBezTo>
                  <a:pt x="3499496" y="2055665"/>
                  <a:pt x="3505449" y="2089598"/>
                  <a:pt x="3506639" y="2135139"/>
                </a:cubicBezTo>
                <a:lnTo>
                  <a:pt x="3357960" y="2135139"/>
                </a:lnTo>
                <a:cubicBezTo>
                  <a:pt x="3360639" y="2091383"/>
                  <a:pt x="3368750" y="2057897"/>
                  <a:pt x="3382293" y="2034680"/>
                </a:cubicBezTo>
                <a:cubicBezTo>
                  <a:pt x="3395837" y="2011463"/>
                  <a:pt x="3414068" y="1999854"/>
                  <a:pt x="3436988" y="1999854"/>
                </a:cubicBezTo>
                <a:close/>
                <a:moveTo>
                  <a:pt x="1168551" y="1999854"/>
                </a:moveTo>
                <a:cubicBezTo>
                  <a:pt x="1196233" y="1999854"/>
                  <a:pt x="1217143" y="2015704"/>
                  <a:pt x="1231282" y="2047405"/>
                </a:cubicBezTo>
                <a:cubicBezTo>
                  <a:pt x="1245421" y="2079105"/>
                  <a:pt x="1252490" y="2126954"/>
                  <a:pt x="1252490" y="2190950"/>
                </a:cubicBezTo>
                <a:cubicBezTo>
                  <a:pt x="1252490" y="2217441"/>
                  <a:pt x="1251150" y="2241328"/>
                  <a:pt x="1248471" y="2262610"/>
                </a:cubicBezTo>
                <a:cubicBezTo>
                  <a:pt x="1245793" y="2283893"/>
                  <a:pt x="1241252" y="2302124"/>
                  <a:pt x="1234853" y="2317305"/>
                </a:cubicBezTo>
                <a:cubicBezTo>
                  <a:pt x="1228454" y="2332485"/>
                  <a:pt x="1219971" y="2344094"/>
                  <a:pt x="1209404" y="2352130"/>
                </a:cubicBezTo>
                <a:cubicBezTo>
                  <a:pt x="1198837" y="2360167"/>
                  <a:pt x="1185665" y="2364186"/>
                  <a:pt x="1169890" y="2364186"/>
                </a:cubicBezTo>
                <a:cubicBezTo>
                  <a:pt x="1141314" y="2364186"/>
                  <a:pt x="1119958" y="2348484"/>
                  <a:pt x="1105820" y="2317081"/>
                </a:cubicBezTo>
                <a:cubicBezTo>
                  <a:pt x="1091681" y="2285679"/>
                  <a:pt x="1084612" y="2238426"/>
                  <a:pt x="1084612" y="2175323"/>
                </a:cubicBezTo>
                <a:cubicBezTo>
                  <a:pt x="1084612" y="2135139"/>
                  <a:pt x="1087439" y="2102248"/>
                  <a:pt x="1093095" y="2076650"/>
                </a:cubicBezTo>
                <a:cubicBezTo>
                  <a:pt x="1098750" y="2051051"/>
                  <a:pt x="1107680" y="2031852"/>
                  <a:pt x="1119884" y="2019053"/>
                </a:cubicBezTo>
                <a:cubicBezTo>
                  <a:pt x="1132088" y="2006254"/>
                  <a:pt x="1148310" y="1999854"/>
                  <a:pt x="1168551" y="1999854"/>
                </a:cubicBezTo>
                <a:close/>
                <a:moveTo>
                  <a:pt x="4507210" y="1953419"/>
                </a:moveTo>
                <a:cubicBezTo>
                  <a:pt x="4490243" y="1953419"/>
                  <a:pt x="4474096" y="1956172"/>
                  <a:pt x="4458766" y="1961679"/>
                </a:cubicBezTo>
                <a:cubicBezTo>
                  <a:pt x="4443437" y="1967185"/>
                  <a:pt x="4428777" y="1974627"/>
                  <a:pt x="4414788" y="1984003"/>
                </a:cubicBezTo>
                <a:cubicBezTo>
                  <a:pt x="4400798" y="1993379"/>
                  <a:pt x="4384575" y="2006253"/>
                  <a:pt x="4366121" y="2022624"/>
                </a:cubicBezTo>
                <a:lnTo>
                  <a:pt x="4360763" y="2021284"/>
                </a:lnTo>
                <a:lnTo>
                  <a:pt x="4367460" y="1956991"/>
                </a:lnTo>
                <a:lnTo>
                  <a:pt x="4311203" y="1956991"/>
                </a:lnTo>
                <a:lnTo>
                  <a:pt x="4188866" y="1960563"/>
                </a:lnTo>
                <a:lnTo>
                  <a:pt x="4188866" y="1990924"/>
                </a:lnTo>
                <a:cubicBezTo>
                  <a:pt x="4203154" y="1993900"/>
                  <a:pt x="4213200" y="1997398"/>
                  <a:pt x="4219004" y="2001416"/>
                </a:cubicBezTo>
                <a:cubicBezTo>
                  <a:pt x="4224808" y="2005434"/>
                  <a:pt x="4229124" y="2010643"/>
                  <a:pt x="4231952" y="2017043"/>
                </a:cubicBezTo>
                <a:cubicBezTo>
                  <a:pt x="4234780" y="2023442"/>
                  <a:pt x="4236566" y="2031926"/>
                  <a:pt x="4237310" y="2042492"/>
                </a:cubicBezTo>
                <a:cubicBezTo>
                  <a:pt x="4238054" y="2053059"/>
                  <a:pt x="4238426" y="2069356"/>
                  <a:pt x="4238426" y="2091382"/>
                </a:cubicBezTo>
                <a:lnTo>
                  <a:pt x="4238426" y="2274888"/>
                </a:lnTo>
                <a:cubicBezTo>
                  <a:pt x="4238426" y="2303165"/>
                  <a:pt x="4237459" y="2322662"/>
                  <a:pt x="4235524" y="2333377"/>
                </a:cubicBezTo>
                <a:cubicBezTo>
                  <a:pt x="4233589" y="2344093"/>
                  <a:pt x="4229869" y="2352576"/>
                  <a:pt x="4224362" y="2358827"/>
                </a:cubicBezTo>
                <a:cubicBezTo>
                  <a:pt x="4218855" y="2365078"/>
                  <a:pt x="4208958" y="2370138"/>
                  <a:pt x="4194671" y="2374007"/>
                </a:cubicBezTo>
                <a:lnTo>
                  <a:pt x="4194671" y="2403475"/>
                </a:lnTo>
                <a:lnTo>
                  <a:pt x="4410323" y="2403475"/>
                </a:lnTo>
                <a:lnTo>
                  <a:pt x="4410323" y="2374007"/>
                </a:lnTo>
                <a:cubicBezTo>
                  <a:pt x="4396333" y="2370733"/>
                  <a:pt x="4386585" y="2365896"/>
                  <a:pt x="4381078" y="2359496"/>
                </a:cubicBezTo>
                <a:cubicBezTo>
                  <a:pt x="4375571" y="2353097"/>
                  <a:pt x="4371925" y="2344390"/>
                  <a:pt x="4370139" y="2333377"/>
                </a:cubicBezTo>
                <a:cubicBezTo>
                  <a:pt x="4368353" y="2322364"/>
                  <a:pt x="4367460" y="2302719"/>
                  <a:pt x="4367460" y="2274441"/>
                </a:cubicBezTo>
                <a:lnTo>
                  <a:pt x="4367460" y="2102545"/>
                </a:lnTo>
                <a:cubicBezTo>
                  <a:pt x="4367460" y="2088555"/>
                  <a:pt x="4371627" y="2075383"/>
                  <a:pt x="4379962" y="2063031"/>
                </a:cubicBezTo>
                <a:cubicBezTo>
                  <a:pt x="4388296" y="2050678"/>
                  <a:pt x="4398565" y="2041004"/>
                  <a:pt x="4410769" y="2034009"/>
                </a:cubicBezTo>
                <a:cubicBezTo>
                  <a:pt x="4422973" y="2027014"/>
                  <a:pt x="4434731" y="2023517"/>
                  <a:pt x="4446041" y="2023517"/>
                </a:cubicBezTo>
                <a:cubicBezTo>
                  <a:pt x="4454376" y="2023517"/>
                  <a:pt x="4461222" y="2024410"/>
                  <a:pt x="4466580" y="2026196"/>
                </a:cubicBezTo>
                <a:cubicBezTo>
                  <a:pt x="4471938" y="2027982"/>
                  <a:pt x="4476700" y="2030735"/>
                  <a:pt x="4480867" y="2034456"/>
                </a:cubicBezTo>
                <a:cubicBezTo>
                  <a:pt x="4485034" y="2038176"/>
                  <a:pt x="4488830" y="2042939"/>
                  <a:pt x="4492253" y="2048743"/>
                </a:cubicBezTo>
                <a:cubicBezTo>
                  <a:pt x="4495676" y="2054548"/>
                  <a:pt x="4498355" y="2061766"/>
                  <a:pt x="4500289" y="2070398"/>
                </a:cubicBezTo>
                <a:cubicBezTo>
                  <a:pt x="4502224" y="2079030"/>
                  <a:pt x="4503638" y="2090117"/>
                  <a:pt x="4504531" y="2103661"/>
                </a:cubicBezTo>
                <a:cubicBezTo>
                  <a:pt x="4505424" y="2117204"/>
                  <a:pt x="4505870" y="2134543"/>
                  <a:pt x="4505870" y="2155676"/>
                </a:cubicBezTo>
                <a:lnTo>
                  <a:pt x="4505870" y="2274888"/>
                </a:lnTo>
                <a:cubicBezTo>
                  <a:pt x="4505870" y="2303165"/>
                  <a:pt x="4504903" y="2322736"/>
                  <a:pt x="4502968" y="2333600"/>
                </a:cubicBezTo>
                <a:cubicBezTo>
                  <a:pt x="4501033" y="2344465"/>
                  <a:pt x="4497387" y="2353097"/>
                  <a:pt x="4492029" y="2359496"/>
                </a:cubicBezTo>
                <a:cubicBezTo>
                  <a:pt x="4486672" y="2365896"/>
                  <a:pt x="4477147" y="2370733"/>
                  <a:pt x="4463454" y="2374007"/>
                </a:cubicBezTo>
                <a:lnTo>
                  <a:pt x="4463454" y="2403475"/>
                </a:lnTo>
                <a:lnTo>
                  <a:pt x="4679999" y="2403475"/>
                </a:lnTo>
                <a:lnTo>
                  <a:pt x="4679999" y="2374007"/>
                </a:lnTo>
                <a:cubicBezTo>
                  <a:pt x="4671963" y="2371924"/>
                  <a:pt x="4665116" y="2369394"/>
                  <a:pt x="4659461" y="2366417"/>
                </a:cubicBezTo>
                <a:cubicBezTo>
                  <a:pt x="4653806" y="2363440"/>
                  <a:pt x="4649415" y="2359794"/>
                  <a:pt x="4646290" y="2355478"/>
                </a:cubicBezTo>
                <a:cubicBezTo>
                  <a:pt x="4643164" y="2351162"/>
                  <a:pt x="4640709" y="2345581"/>
                  <a:pt x="4638923" y="2338735"/>
                </a:cubicBezTo>
                <a:cubicBezTo>
                  <a:pt x="4637137" y="2331889"/>
                  <a:pt x="4636021" y="2322736"/>
                  <a:pt x="4635574" y="2311276"/>
                </a:cubicBezTo>
                <a:cubicBezTo>
                  <a:pt x="4635128" y="2299816"/>
                  <a:pt x="4634904" y="2287538"/>
                  <a:pt x="4634904" y="2274441"/>
                </a:cubicBezTo>
                <a:lnTo>
                  <a:pt x="4634904" y="2111028"/>
                </a:lnTo>
                <a:cubicBezTo>
                  <a:pt x="4634904" y="2085429"/>
                  <a:pt x="4632746" y="2062956"/>
                  <a:pt x="4628430" y="2043609"/>
                </a:cubicBezTo>
                <a:cubicBezTo>
                  <a:pt x="4624114" y="2024261"/>
                  <a:pt x="4616971" y="2007890"/>
                  <a:pt x="4606999" y="1994495"/>
                </a:cubicBezTo>
                <a:cubicBezTo>
                  <a:pt x="4597028" y="1981101"/>
                  <a:pt x="4584005" y="1970906"/>
                  <a:pt x="4567932" y="1963911"/>
                </a:cubicBezTo>
                <a:cubicBezTo>
                  <a:pt x="4551858" y="1956916"/>
                  <a:pt x="4531618" y="1953419"/>
                  <a:pt x="4507210" y="1953419"/>
                </a:cubicBezTo>
                <a:close/>
                <a:moveTo>
                  <a:pt x="3929906" y="1953419"/>
                </a:moveTo>
                <a:cubicBezTo>
                  <a:pt x="3886150" y="1953419"/>
                  <a:pt x="3847752" y="1962423"/>
                  <a:pt x="3814713" y="1980431"/>
                </a:cubicBezTo>
                <a:cubicBezTo>
                  <a:pt x="3781673" y="1998439"/>
                  <a:pt x="3756149" y="2024931"/>
                  <a:pt x="3738141" y="2059905"/>
                </a:cubicBezTo>
                <a:cubicBezTo>
                  <a:pt x="3720132" y="2094880"/>
                  <a:pt x="3711128" y="2136478"/>
                  <a:pt x="3711128" y="2184698"/>
                </a:cubicBezTo>
                <a:cubicBezTo>
                  <a:pt x="3711128" y="2259410"/>
                  <a:pt x="3728616" y="2315741"/>
                  <a:pt x="3763590" y="2353692"/>
                </a:cubicBezTo>
                <a:cubicBezTo>
                  <a:pt x="3798565" y="2391643"/>
                  <a:pt x="3850729" y="2410619"/>
                  <a:pt x="3920083" y="2410619"/>
                </a:cubicBezTo>
                <a:cubicBezTo>
                  <a:pt x="3958778" y="2410619"/>
                  <a:pt x="3993009" y="2403922"/>
                  <a:pt x="4022774" y="2390527"/>
                </a:cubicBezTo>
                <a:cubicBezTo>
                  <a:pt x="4052540" y="2377133"/>
                  <a:pt x="4082603" y="2354362"/>
                  <a:pt x="4112964" y="2322215"/>
                </a:cubicBezTo>
                <a:lnTo>
                  <a:pt x="4076799" y="2282924"/>
                </a:lnTo>
                <a:cubicBezTo>
                  <a:pt x="4055665" y="2304356"/>
                  <a:pt x="4036020" y="2319313"/>
                  <a:pt x="4017863" y="2327796"/>
                </a:cubicBezTo>
                <a:cubicBezTo>
                  <a:pt x="3999706" y="2336279"/>
                  <a:pt x="3979316" y="2340521"/>
                  <a:pt x="3956695" y="2340521"/>
                </a:cubicBezTo>
                <a:cubicBezTo>
                  <a:pt x="3917999" y="2340521"/>
                  <a:pt x="3889201" y="2327796"/>
                  <a:pt x="3870300" y="2302346"/>
                </a:cubicBezTo>
                <a:cubicBezTo>
                  <a:pt x="3851399" y="2276897"/>
                  <a:pt x="3841799" y="2237234"/>
                  <a:pt x="3841502" y="2183358"/>
                </a:cubicBezTo>
                <a:lnTo>
                  <a:pt x="4124573" y="2183358"/>
                </a:lnTo>
                <a:cubicBezTo>
                  <a:pt x="4124275" y="2148235"/>
                  <a:pt x="4121150" y="2118320"/>
                  <a:pt x="4115197" y="2093615"/>
                </a:cubicBezTo>
                <a:cubicBezTo>
                  <a:pt x="4109541" y="2069505"/>
                  <a:pt x="4101058" y="2048074"/>
                  <a:pt x="4089747" y="2029321"/>
                </a:cubicBezTo>
                <a:cubicBezTo>
                  <a:pt x="4080222" y="2013545"/>
                  <a:pt x="4068167" y="2000076"/>
                  <a:pt x="4053582" y="1988914"/>
                </a:cubicBezTo>
                <a:cubicBezTo>
                  <a:pt x="4038997" y="1977752"/>
                  <a:pt x="4021509" y="1969046"/>
                  <a:pt x="4001120" y="1962795"/>
                </a:cubicBezTo>
                <a:cubicBezTo>
                  <a:pt x="3980730" y="1956544"/>
                  <a:pt x="3956992" y="1953419"/>
                  <a:pt x="3929906" y="1953419"/>
                </a:cubicBezTo>
                <a:close/>
                <a:moveTo>
                  <a:pt x="3444131" y="1953419"/>
                </a:moveTo>
                <a:cubicBezTo>
                  <a:pt x="3400375" y="1953419"/>
                  <a:pt x="3361977" y="1962423"/>
                  <a:pt x="3328938" y="1980431"/>
                </a:cubicBezTo>
                <a:cubicBezTo>
                  <a:pt x="3295898" y="1998439"/>
                  <a:pt x="3270374" y="2024931"/>
                  <a:pt x="3252366" y="2059905"/>
                </a:cubicBezTo>
                <a:cubicBezTo>
                  <a:pt x="3234357" y="2094880"/>
                  <a:pt x="3225353" y="2136478"/>
                  <a:pt x="3225353" y="2184698"/>
                </a:cubicBezTo>
                <a:cubicBezTo>
                  <a:pt x="3225353" y="2259410"/>
                  <a:pt x="3242841" y="2315741"/>
                  <a:pt x="3277815" y="2353692"/>
                </a:cubicBezTo>
                <a:cubicBezTo>
                  <a:pt x="3312790" y="2391643"/>
                  <a:pt x="3364954" y="2410619"/>
                  <a:pt x="3434308" y="2410619"/>
                </a:cubicBezTo>
                <a:cubicBezTo>
                  <a:pt x="3473003" y="2410619"/>
                  <a:pt x="3507234" y="2403922"/>
                  <a:pt x="3536999" y="2390527"/>
                </a:cubicBezTo>
                <a:cubicBezTo>
                  <a:pt x="3566765" y="2377133"/>
                  <a:pt x="3596828" y="2354362"/>
                  <a:pt x="3627189" y="2322215"/>
                </a:cubicBezTo>
                <a:lnTo>
                  <a:pt x="3591024" y="2282924"/>
                </a:lnTo>
                <a:cubicBezTo>
                  <a:pt x="3569890" y="2304356"/>
                  <a:pt x="3550245" y="2319313"/>
                  <a:pt x="3532088" y="2327796"/>
                </a:cubicBezTo>
                <a:cubicBezTo>
                  <a:pt x="3513931" y="2336279"/>
                  <a:pt x="3493541" y="2340521"/>
                  <a:pt x="3470920" y="2340521"/>
                </a:cubicBezTo>
                <a:cubicBezTo>
                  <a:pt x="3432224" y="2340521"/>
                  <a:pt x="3403426" y="2327796"/>
                  <a:pt x="3384525" y="2302346"/>
                </a:cubicBezTo>
                <a:cubicBezTo>
                  <a:pt x="3365624" y="2276897"/>
                  <a:pt x="3356024" y="2237234"/>
                  <a:pt x="3355727" y="2183358"/>
                </a:cubicBezTo>
                <a:lnTo>
                  <a:pt x="3638798" y="2183358"/>
                </a:lnTo>
                <a:cubicBezTo>
                  <a:pt x="3638500" y="2148235"/>
                  <a:pt x="3635375" y="2118320"/>
                  <a:pt x="3629422" y="2093615"/>
                </a:cubicBezTo>
                <a:cubicBezTo>
                  <a:pt x="3623766" y="2069505"/>
                  <a:pt x="3615283" y="2048074"/>
                  <a:pt x="3603972" y="2029321"/>
                </a:cubicBezTo>
                <a:cubicBezTo>
                  <a:pt x="3594447" y="2013545"/>
                  <a:pt x="3582392" y="2000076"/>
                  <a:pt x="3567807" y="1988914"/>
                </a:cubicBezTo>
                <a:cubicBezTo>
                  <a:pt x="3553222" y="1977752"/>
                  <a:pt x="3535735" y="1969046"/>
                  <a:pt x="3515345" y="1962795"/>
                </a:cubicBezTo>
                <a:cubicBezTo>
                  <a:pt x="3494955" y="1956544"/>
                  <a:pt x="3471217" y="1953419"/>
                  <a:pt x="3444131" y="1953419"/>
                </a:cubicBezTo>
                <a:close/>
                <a:moveTo>
                  <a:pt x="3127424" y="1953419"/>
                </a:moveTo>
                <a:cubicBezTo>
                  <a:pt x="3100635" y="1953419"/>
                  <a:pt x="3075781" y="1959074"/>
                  <a:pt x="3052861" y="1970385"/>
                </a:cubicBezTo>
                <a:cubicBezTo>
                  <a:pt x="3029942" y="1981696"/>
                  <a:pt x="3007618" y="2000151"/>
                  <a:pt x="2985889" y="2025749"/>
                </a:cubicBezTo>
                <a:lnTo>
                  <a:pt x="2980085" y="2024410"/>
                </a:lnTo>
                <a:lnTo>
                  <a:pt x="2986335" y="1956991"/>
                </a:lnTo>
                <a:lnTo>
                  <a:pt x="2930078" y="1956991"/>
                </a:lnTo>
                <a:lnTo>
                  <a:pt x="2807742" y="1960563"/>
                </a:lnTo>
                <a:lnTo>
                  <a:pt x="2807742" y="1990924"/>
                </a:lnTo>
                <a:cubicBezTo>
                  <a:pt x="2822029" y="1993900"/>
                  <a:pt x="2832075" y="1997398"/>
                  <a:pt x="2837879" y="2001416"/>
                </a:cubicBezTo>
                <a:cubicBezTo>
                  <a:pt x="2843684" y="2005434"/>
                  <a:pt x="2848000" y="2010643"/>
                  <a:pt x="2850827" y="2017043"/>
                </a:cubicBezTo>
                <a:cubicBezTo>
                  <a:pt x="2853655" y="2023442"/>
                  <a:pt x="2855441" y="2031926"/>
                  <a:pt x="2856185" y="2042492"/>
                </a:cubicBezTo>
                <a:cubicBezTo>
                  <a:pt x="2856929" y="2053059"/>
                  <a:pt x="2857301" y="2069356"/>
                  <a:pt x="2857301" y="2091382"/>
                </a:cubicBezTo>
                <a:lnTo>
                  <a:pt x="2857301" y="2274888"/>
                </a:lnTo>
                <a:cubicBezTo>
                  <a:pt x="2857301" y="2303165"/>
                  <a:pt x="2856334" y="2322662"/>
                  <a:pt x="2854399" y="2333377"/>
                </a:cubicBezTo>
                <a:cubicBezTo>
                  <a:pt x="2852464" y="2344093"/>
                  <a:pt x="2848744" y="2352576"/>
                  <a:pt x="2843237" y="2358827"/>
                </a:cubicBezTo>
                <a:cubicBezTo>
                  <a:pt x="2837730" y="2365078"/>
                  <a:pt x="2827833" y="2370138"/>
                  <a:pt x="2813546" y="2374007"/>
                </a:cubicBezTo>
                <a:lnTo>
                  <a:pt x="2813546" y="2403475"/>
                </a:lnTo>
                <a:lnTo>
                  <a:pt x="3033663" y="2403475"/>
                </a:lnTo>
                <a:lnTo>
                  <a:pt x="3033663" y="2374007"/>
                </a:lnTo>
                <a:cubicBezTo>
                  <a:pt x="3018780" y="2371328"/>
                  <a:pt x="3008213" y="2366789"/>
                  <a:pt x="3001962" y="2360389"/>
                </a:cubicBezTo>
                <a:cubicBezTo>
                  <a:pt x="2995711" y="2353990"/>
                  <a:pt x="2991544" y="2345135"/>
                  <a:pt x="2989461" y="2333824"/>
                </a:cubicBezTo>
                <a:cubicBezTo>
                  <a:pt x="2987377" y="2322513"/>
                  <a:pt x="2986335" y="2302719"/>
                  <a:pt x="2986335" y="2274441"/>
                </a:cubicBezTo>
                <a:lnTo>
                  <a:pt x="2986335" y="2132013"/>
                </a:lnTo>
                <a:cubicBezTo>
                  <a:pt x="2986335" y="2116535"/>
                  <a:pt x="2986782" y="2104926"/>
                  <a:pt x="2987675" y="2097187"/>
                </a:cubicBezTo>
                <a:cubicBezTo>
                  <a:pt x="2988568" y="2089448"/>
                  <a:pt x="2990428" y="2081783"/>
                  <a:pt x="2993256" y="2074193"/>
                </a:cubicBezTo>
                <a:cubicBezTo>
                  <a:pt x="2996084" y="2066603"/>
                  <a:pt x="3000846" y="2059161"/>
                  <a:pt x="3007543" y="2051869"/>
                </a:cubicBezTo>
                <a:cubicBezTo>
                  <a:pt x="3014241" y="2044576"/>
                  <a:pt x="3021533" y="2038921"/>
                  <a:pt x="3029421" y="2034902"/>
                </a:cubicBezTo>
                <a:cubicBezTo>
                  <a:pt x="3037309" y="2030884"/>
                  <a:pt x="3044527" y="2028875"/>
                  <a:pt x="3051075" y="2028875"/>
                </a:cubicBezTo>
                <a:cubicBezTo>
                  <a:pt x="3064768" y="2028875"/>
                  <a:pt x="3075707" y="2033488"/>
                  <a:pt x="3083892" y="2042716"/>
                </a:cubicBezTo>
                <a:cubicBezTo>
                  <a:pt x="3092078" y="2051943"/>
                  <a:pt x="3098700" y="2065189"/>
                  <a:pt x="3103761" y="2082453"/>
                </a:cubicBezTo>
                <a:lnTo>
                  <a:pt x="3184574" y="2082453"/>
                </a:lnTo>
                <a:lnTo>
                  <a:pt x="3184574" y="1959223"/>
                </a:lnTo>
                <a:cubicBezTo>
                  <a:pt x="3164631" y="1955354"/>
                  <a:pt x="3145581" y="1953419"/>
                  <a:pt x="3127424" y="1953419"/>
                </a:cubicBezTo>
                <a:close/>
                <a:moveTo>
                  <a:pt x="1783060" y="1953419"/>
                </a:moveTo>
                <a:cubicBezTo>
                  <a:pt x="1766094" y="1953419"/>
                  <a:pt x="1749946" y="1956172"/>
                  <a:pt x="1734616" y="1961679"/>
                </a:cubicBezTo>
                <a:cubicBezTo>
                  <a:pt x="1719287" y="1967185"/>
                  <a:pt x="1704627" y="1974627"/>
                  <a:pt x="1690638" y="1984003"/>
                </a:cubicBezTo>
                <a:cubicBezTo>
                  <a:pt x="1676648" y="1993379"/>
                  <a:pt x="1660426" y="2006253"/>
                  <a:pt x="1641971" y="2022624"/>
                </a:cubicBezTo>
                <a:lnTo>
                  <a:pt x="1636613" y="2021284"/>
                </a:lnTo>
                <a:lnTo>
                  <a:pt x="1643310" y="1956991"/>
                </a:lnTo>
                <a:lnTo>
                  <a:pt x="1587053" y="1956991"/>
                </a:lnTo>
                <a:lnTo>
                  <a:pt x="1464717" y="1960563"/>
                </a:lnTo>
                <a:lnTo>
                  <a:pt x="1464717" y="1990924"/>
                </a:lnTo>
                <a:cubicBezTo>
                  <a:pt x="1479004" y="1993900"/>
                  <a:pt x="1489050" y="1997398"/>
                  <a:pt x="1494854" y="2001416"/>
                </a:cubicBezTo>
                <a:cubicBezTo>
                  <a:pt x="1500659" y="2005434"/>
                  <a:pt x="1504975" y="2010643"/>
                  <a:pt x="1507802" y="2017043"/>
                </a:cubicBezTo>
                <a:cubicBezTo>
                  <a:pt x="1510630" y="2023442"/>
                  <a:pt x="1512416" y="2031926"/>
                  <a:pt x="1513160" y="2042492"/>
                </a:cubicBezTo>
                <a:cubicBezTo>
                  <a:pt x="1513904" y="2053059"/>
                  <a:pt x="1514277" y="2069356"/>
                  <a:pt x="1514277" y="2091382"/>
                </a:cubicBezTo>
                <a:lnTo>
                  <a:pt x="1514277" y="2274888"/>
                </a:lnTo>
                <a:cubicBezTo>
                  <a:pt x="1514277" y="2303165"/>
                  <a:pt x="1513309" y="2322662"/>
                  <a:pt x="1511374" y="2333377"/>
                </a:cubicBezTo>
                <a:cubicBezTo>
                  <a:pt x="1509440" y="2344093"/>
                  <a:pt x="1505719" y="2352576"/>
                  <a:pt x="1500212" y="2358827"/>
                </a:cubicBezTo>
                <a:cubicBezTo>
                  <a:pt x="1494706" y="2365078"/>
                  <a:pt x="1484808" y="2370138"/>
                  <a:pt x="1470521" y="2374007"/>
                </a:cubicBezTo>
                <a:lnTo>
                  <a:pt x="1470521" y="2403475"/>
                </a:lnTo>
                <a:lnTo>
                  <a:pt x="1686173" y="2403475"/>
                </a:lnTo>
                <a:lnTo>
                  <a:pt x="1686173" y="2374007"/>
                </a:lnTo>
                <a:cubicBezTo>
                  <a:pt x="1672183" y="2370733"/>
                  <a:pt x="1662435" y="2365896"/>
                  <a:pt x="1656928" y="2359496"/>
                </a:cubicBezTo>
                <a:cubicBezTo>
                  <a:pt x="1651421" y="2353097"/>
                  <a:pt x="1647775" y="2344390"/>
                  <a:pt x="1645989" y="2333377"/>
                </a:cubicBezTo>
                <a:cubicBezTo>
                  <a:pt x="1644203" y="2322364"/>
                  <a:pt x="1643310" y="2302719"/>
                  <a:pt x="1643310" y="2274441"/>
                </a:cubicBezTo>
                <a:lnTo>
                  <a:pt x="1643310" y="2102545"/>
                </a:lnTo>
                <a:cubicBezTo>
                  <a:pt x="1643310" y="2088555"/>
                  <a:pt x="1647477" y="2075383"/>
                  <a:pt x="1655812" y="2063031"/>
                </a:cubicBezTo>
                <a:cubicBezTo>
                  <a:pt x="1664146" y="2050678"/>
                  <a:pt x="1674415" y="2041004"/>
                  <a:pt x="1686619" y="2034009"/>
                </a:cubicBezTo>
                <a:cubicBezTo>
                  <a:pt x="1698823" y="2027014"/>
                  <a:pt x="1710581" y="2023517"/>
                  <a:pt x="1721892" y="2023517"/>
                </a:cubicBezTo>
                <a:cubicBezTo>
                  <a:pt x="1730226" y="2023517"/>
                  <a:pt x="1737072" y="2024410"/>
                  <a:pt x="1742430" y="2026196"/>
                </a:cubicBezTo>
                <a:cubicBezTo>
                  <a:pt x="1747788" y="2027982"/>
                  <a:pt x="1752550" y="2030735"/>
                  <a:pt x="1756718" y="2034456"/>
                </a:cubicBezTo>
                <a:cubicBezTo>
                  <a:pt x="1760885" y="2038176"/>
                  <a:pt x="1764680" y="2042939"/>
                  <a:pt x="1768103" y="2048743"/>
                </a:cubicBezTo>
                <a:cubicBezTo>
                  <a:pt x="1771526" y="2054548"/>
                  <a:pt x="1774205" y="2061766"/>
                  <a:pt x="1776139" y="2070398"/>
                </a:cubicBezTo>
                <a:cubicBezTo>
                  <a:pt x="1778074" y="2079030"/>
                  <a:pt x="1779488" y="2090117"/>
                  <a:pt x="1780381" y="2103661"/>
                </a:cubicBezTo>
                <a:cubicBezTo>
                  <a:pt x="1781274" y="2117204"/>
                  <a:pt x="1781721" y="2134543"/>
                  <a:pt x="1781721" y="2155676"/>
                </a:cubicBezTo>
                <a:lnTo>
                  <a:pt x="1781721" y="2274888"/>
                </a:lnTo>
                <a:cubicBezTo>
                  <a:pt x="1781721" y="2303165"/>
                  <a:pt x="1780753" y="2322736"/>
                  <a:pt x="1778819" y="2333600"/>
                </a:cubicBezTo>
                <a:cubicBezTo>
                  <a:pt x="1776884" y="2344465"/>
                  <a:pt x="1773237" y="2353097"/>
                  <a:pt x="1767880" y="2359496"/>
                </a:cubicBezTo>
                <a:cubicBezTo>
                  <a:pt x="1762522" y="2365896"/>
                  <a:pt x="1752997" y="2370733"/>
                  <a:pt x="1739304" y="2374007"/>
                </a:cubicBezTo>
                <a:lnTo>
                  <a:pt x="1739304" y="2403475"/>
                </a:lnTo>
                <a:lnTo>
                  <a:pt x="1955850" y="2403475"/>
                </a:lnTo>
                <a:lnTo>
                  <a:pt x="1955850" y="2374007"/>
                </a:lnTo>
                <a:cubicBezTo>
                  <a:pt x="1947813" y="2371924"/>
                  <a:pt x="1940967" y="2369394"/>
                  <a:pt x="1935311" y="2366417"/>
                </a:cubicBezTo>
                <a:cubicBezTo>
                  <a:pt x="1929656" y="2363440"/>
                  <a:pt x="1925265" y="2359794"/>
                  <a:pt x="1922140" y="2355478"/>
                </a:cubicBezTo>
                <a:cubicBezTo>
                  <a:pt x="1919015" y="2351162"/>
                  <a:pt x="1916559" y="2345581"/>
                  <a:pt x="1914773" y="2338735"/>
                </a:cubicBezTo>
                <a:cubicBezTo>
                  <a:pt x="1912987" y="2331889"/>
                  <a:pt x="1911871" y="2322736"/>
                  <a:pt x="1911424" y="2311276"/>
                </a:cubicBezTo>
                <a:cubicBezTo>
                  <a:pt x="1910978" y="2299816"/>
                  <a:pt x="1910755" y="2287538"/>
                  <a:pt x="1910755" y="2274441"/>
                </a:cubicBezTo>
                <a:lnTo>
                  <a:pt x="1910755" y="2111028"/>
                </a:lnTo>
                <a:cubicBezTo>
                  <a:pt x="1910755" y="2085429"/>
                  <a:pt x="1908596" y="2062956"/>
                  <a:pt x="1904281" y="2043609"/>
                </a:cubicBezTo>
                <a:cubicBezTo>
                  <a:pt x="1899965" y="2024261"/>
                  <a:pt x="1892821" y="2007890"/>
                  <a:pt x="1882849" y="1994495"/>
                </a:cubicBezTo>
                <a:cubicBezTo>
                  <a:pt x="1872878" y="1981101"/>
                  <a:pt x="1859855" y="1970906"/>
                  <a:pt x="1843782" y="1963911"/>
                </a:cubicBezTo>
                <a:cubicBezTo>
                  <a:pt x="1827709" y="1956916"/>
                  <a:pt x="1807468" y="1953419"/>
                  <a:pt x="1783060" y="1953419"/>
                </a:cubicBezTo>
                <a:close/>
                <a:moveTo>
                  <a:pt x="1170335" y="1953419"/>
                </a:moveTo>
                <a:cubicBezTo>
                  <a:pt x="1138485" y="1953419"/>
                  <a:pt x="1108943" y="1957958"/>
                  <a:pt x="1081707" y="1967037"/>
                </a:cubicBezTo>
                <a:cubicBezTo>
                  <a:pt x="1054472" y="1976115"/>
                  <a:pt x="1031031" y="1990179"/>
                  <a:pt x="1011386" y="2009229"/>
                </a:cubicBezTo>
                <a:cubicBezTo>
                  <a:pt x="991741" y="2028279"/>
                  <a:pt x="976412" y="2052390"/>
                  <a:pt x="965398" y="2081560"/>
                </a:cubicBezTo>
                <a:cubicBezTo>
                  <a:pt x="954385" y="2110730"/>
                  <a:pt x="948878" y="2145258"/>
                  <a:pt x="948878" y="2185144"/>
                </a:cubicBezTo>
                <a:cubicBezTo>
                  <a:pt x="948878" y="2237234"/>
                  <a:pt x="957808" y="2280171"/>
                  <a:pt x="975667" y="2313955"/>
                </a:cubicBezTo>
                <a:cubicBezTo>
                  <a:pt x="993527" y="2347739"/>
                  <a:pt x="1018307" y="2372296"/>
                  <a:pt x="1050007" y="2387625"/>
                </a:cubicBezTo>
                <a:cubicBezTo>
                  <a:pt x="1081707" y="2402954"/>
                  <a:pt x="1119435" y="2410619"/>
                  <a:pt x="1163191" y="2410619"/>
                </a:cubicBezTo>
                <a:cubicBezTo>
                  <a:pt x="1209625" y="2410619"/>
                  <a:pt x="1249660" y="2402136"/>
                  <a:pt x="1283295" y="2385169"/>
                </a:cubicBezTo>
                <a:cubicBezTo>
                  <a:pt x="1316930" y="2368203"/>
                  <a:pt x="1342826" y="2342232"/>
                  <a:pt x="1360984" y="2307258"/>
                </a:cubicBezTo>
                <a:cubicBezTo>
                  <a:pt x="1379140" y="2272283"/>
                  <a:pt x="1388219" y="2228900"/>
                  <a:pt x="1388219" y="2177108"/>
                </a:cubicBezTo>
                <a:cubicBezTo>
                  <a:pt x="1388219" y="2103884"/>
                  <a:pt x="1369913" y="2048297"/>
                  <a:pt x="1333301" y="2010346"/>
                </a:cubicBezTo>
                <a:cubicBezTo>
                  <a:pt x="1296690" y="1972394"/>
                  <a:pt x="1242368" y="1953419"/>
                  <a:pt x="1170335" y="1953419"/>
                </a:cubicBezTo>
                <a:close/>
                <a:moveTo>
                  <a:pt x="2516336" y="1786880"/>
                </a:moveTo>
                <a:cubicBezTo>
                  <a:pt x="2477641" y="1786880"/>
                  <a:pt x="2441401" y="1792759"/>
                  <a:pt x="2407617" y="1804516"/>
                </a:cubicBezTo>
                <a:cubicBezTo>
                  <a:pt x="2373833" y="1816274"/>
                  <a:pt x="2343472" y="1835026"/>
                  <a:pt x="2316534" y="1860773"/>
                </a:cubicBezTo>
                <a:cubicBezTo>
                  <a:pt x="2289596" y="1886521"/>
                  <a:pt x="2268537" y="1919932"/>
                  <a:pt x="2253357" y="1961009"/>
                </a:cubicBezTo>
                <a:cubicBezTo>
                  <a:pt x="2238176" y="2002086"/>
                  <a:pt x="2230586" y="2049711"/>
                  <a:pt x="2230586" y="2103884"/>
                </a:cubicBezTo>
                <a:cubicBezTo>
                  <a:pt x="2230586" y="2206873"/>
                  <a:pt x="2251943" y="2283743"/>
                  <a:pt x="2294657" y="2334493"/>
                </a:cubicBezTo>
                <a:cubicBezTo>
                  <a:pt x="2337370" y="2385244"/>
                  <a:pt x="2402185" y="2410619"/>
                  <a:pt x="2489101" y="2410619"/>
                </a:cubicBezTo>
                <a:cubicBezTo>
                  <a:pt x="2534940" y="2410619"/>
                  <a:pt x="2575570" y="2399754"/>
                  <a:pt x="2610991" y="2378026"/>
                </a:cubicBezTo>
                <a:lnTo>
                  <a:pt x="2641352" y="2410172"/>
                </a:lnTo>
                <a:lnTo>
                  <a:pt x="2705645" y="2396778"/>
                </a:lnTo>
                <a:lnTo>
                  <a:pt x="2705645" y="2228453"/>
                </a:lnTo>
                <a:cubicBezTo>
                  <a:pt x="2705645" y="2211487"/>
                  <a:pt x="2706613" y="2198316"/>
                  <a:pt x="2708548" y="2188939"/>
                </a:cubicBezTo>
                <a:cubicBezTo>
                  <a:pt x="2710482" y="2179563"/>
                  <a:pt x="2714129" y="2172047"/>
                  <a:pt x="2719486" y="2166392"/>
                </a:cubicBezTo>
                <a:cubicBezTo>
                  <a:pt x="2724844" y="2160737"/>
                  <a:pt x="2734965" y="2155676"/>
                  <a:pt x="2749848" y="2151212"/>
                </a:cubicBezTo>
                <a:lnTo>
                  <a:pt x="2749848" y="2121744"/>
                </a:lnTo>
                <a:lnTo>
                  <a:pt x="2521248" y="2121744"/>
                </a:lnTo>
                <a:lnTo>
                  <a:pt x="2521248" y="2151212"/>
                </a:lnTo>
                <a:cubicBezTo>
                  <a:pt x="2534047" y="2155081"/>
                  <a:pt x="2542976" y="2158504"/>
                  <a:pt x="2548036" y="2161481"/>
                </a:cubicBezTo>
                <a:cubicBezTo>
                  <a:pt x="2553097" y="2164457"/>
                  <a:pt x="2557189" y="2168327"/>
                  <a:pt x="2560315" y="2173089"/>
                </a:cubicBezTo>
                <a:cubicBezTo>
                  <a:pt x="2563440" y="2177852"/>
                  <a:pt x="2565747" y="2185070"/>
                  <a:pt x="2567235" y="2194744"/>
                </a:cubicBezTo>
                <a:cubicBezTo>
                  <a:pt x="2568724" y="2204418"/>
                  <a:pt x="2569468" y="2220565"/>
                  <a:pt x="2569468" y="2243187"/>
                </a:cubicBezTo>
                <a:lnTo>
                  <a:pt x="2569468" y="2260154"/>
                </a:lnTo>
                <a:cubicBezTo>
                  <a:pt x="2569468" y="2294384"/>
                  <a:pt x="2563217" y="2319313"/>
                  <a:pt x="2550715" y="2334940"/>
                </a:cubicBezTo>
                <a:cubicBezTo>
                  <a:pt x="2538214" y="2350567"/>
                  <a:pt x="2518866" y="2358380"/>
                  <a:pt x="2492673" y="2358380"/>
                </a:cubicBezTo>
                <a:cubicBezTo>
                  <a:pt x="2466181" y="2358380"/>
                  <a:pt x="2443931" y="2347813"/>
                  <a:pt x="2425923" y="2326680"/>
                </a:cubicBezTo>
                <a:cubicBezTo>
                  <a:pt x="2407915" y="2305546"/>
                  <a:pt x="2394520" y="2275855"/>
                  <a:pt x="2385739" y="2237606"/>
                </a:cubicBezTo>
                <a:cubicBezTo>
                  <a:pt x="2376959" y="2199357"/>
                  <a:pt x="2372568" y="2154188"/>
                  <a:pt x="2372568" y="2102098"/>
                </a:cubicBezTo>
                <a:cubicBezTo>
                  <a:pt x="2372568" y="2041674"/>
                  <a:pt x="2379117" y="1991742"/>
                  <a:pt x="2392214" y="1952303"/>
                </a:cubicBezTo>
                <a:cubicBezTo>
                  <a:pt x="2405310" y="1912863"/>
                  <a:pt x="2423170" y="1884139"/>
                  <a:pt x="2445792" y="1866131"/>
                </a:cubicBezTo>
                <a:cubicBezTo>
                  <a:pt x="2468414" y="1848123"/>
                  <a:pt x="2494458" y="1839119"/>
                  <a:pt x="2523926" y="1839119"/>
                </a:cubicBezTo>
                <a:cubicBezTo>
                  <a:pt x="2545655" y="1839119"/>
                  <a:pt x="2563440" y="1842467"/>
                  <a:pt x="2577281" y="1849165"/>
                </a:cubicBezTo>
                <a:cubicBezTo>
                  <a:pt x="2591122" y="1855862"/>
                  <a:pt x="2602433" y="1865982"/>
                  <a:pt x="2611214" y="1879526"/>
                </a:cubicBezTo>
                <a:cubicBezTo>
                  <a:pt x="2619995" y="1893069"/>
                  <a:pt x="2627808" y="1912342"/>
                  <a:pt x="2634655" y="1937345"/>
                </a:cubicBezTo>
                <a:lnTo>
                  <a:pt x="2695823" y="1937345"/>
                </a:lnTo>
                <a:lnTo>
                  <a:pt x="2695823" y="1810544"/>
                </a:lnTo>
                <a:cubicBezTo>
                  <a:pt x="2641352" y="1794768"/>
                  <a:pt x="2581523" y="1786880"/>
                  <a:pt x="2516336" y="1786880"/>
                </a:cubicBezTo>
                <a:close/>
                <a:moveTo>
                  <a:pt x="6280647" y="1327151"/>
                </a:moveTo>
                <a:cubicBezTo>
                  <a:pt x="6292851" y="1328342"/>
                  <a:pt x="6309817" y="1328937"/>
                  <a:pt x="6331546" y="1328937"/>
                </a:cubicBezTo>
                <a:lnTo>
                  <a:pt x="6408341" y="1328937"/>
                </a:lnTo>
                <a:cubicBezTo>
                  <a:pt x="6427391" y="1328937"/>
                  <a:pt x="6442125" y="1331318"/>
                  <a:pt x="6452543" y="1336081"/>
                </a:cubicBezTo>
                <a:cubicBezTo>
                  <a:pt x="6462961" y="1340843"/>
                  <a:pt x="6469956" y="1346796"/>
                  <a:pt x="6473528" y="1353940"/>
                </a:cubicBezTo>
                <a:cubicBezTo>
                  <a:pt x="6477100" y="1361084"/>
                  <a:pt x="6478886" y="1369716"/>
                  <a:pt x="6478886" y="1379836"/>
                </a:cubicBezTo>
                <a:cubicBezTo>
                  <a:pt x="6478886" y="1402458"/>
                  <a:pt x="6469138" y="1420020"/>
                  <a:pt x="6449641" y="1432521"/>
                </a:cubicBezTo>
                <a:cubicBezTo>
                  <a:pt x="6430145" y="1445023"/>
                  <a:pt x="6401644" y="1451274"/>
                  <a:pt x="6364139" y="1451274"/>
                </a:cubicBezTo>
                <a:cubicBezTo>
                  <a:pt x="6323956" y="1451274"/>
                  <a:pt x="6294562" y="1446139"/>
                  <a:pt x="6275959" y="1435870"/>
                </a:cubicBezTo>
                <a:cubicBezTo>
                  <a:pt x="6257355" y="1425601"/>
                  <a:pt x="6248054" y="1409751"/>
                  <a:pt x="6248054" y="1388319"/>
                </a:cubicBezTo>
                <a:cubicBezTo>
                  <a:pt x="6248054" y="1375520"/>
                  <a:pt x="6250807" y="1364209"/>
                  <a:pt x="6256314" y="1354387"/>
                </a:cubicBezTo>
                <a:cubicBezTo>
                  <a:pt x="6261820" y="1344564"/>
                  <a:pt x="6269931" y="1335485"/>
                  <a:pt x="6280647" y="1327151"/>
                </a:cubicBezTo>
                <a:close/>
                <a:moveTo>
                  <a:pt x="4758135" y="1087835"/>
                </a:moveTo>
                <a:lnTo>
                  <a:pt x="4758135" y="1161952"/>
                </a:lnTo>
                <a:cubicBezTo>
                  <a:pt x="4758135" y="1175644"/>
                  <a:pt x="4754563" y="1188592"/>
                  <a:pt x="4747419" y="1200796"/>
                </a:cubicBezTo>
                <a:cubicBezTo>
                  <a:pt x="4740276" y="1213000"/>
                  <a:pt x="4730602" y="1222748"/>
                  <a:pt x="4718398" y="1230041"/>
                </a:cubicBezTo>
                <a:cubicBezTo>
                  <a:pt x="4706194" y="1237333"/>
                  <a:pt x="4693246" y="1240980"/>
                  <a:pt x="4679554" y="1240980"/>
                </a:cubicBezTo>
                <a:cubicBezTo>
                  <a:pt x="4661694" y="1240980"/>
                  <a:pt x="4647705" y="1236143"/>
                  <a:pt x="4637584" y="1226469"/>
                </a:cubicBezTo>
                <a:cubicBezTo>
                  <a:pt x="4627464" y="1216795"/>
                  <a:pt x="4622404" y="1202731"/>
                  <a:pt x="4622404" y="1184276"/>
                </a:cubicBezTo>
                <a:cubicBezTo>
                  <a:pt x="4622404" y="1153320"/>
                  <a:pt x="4633492" y="1129805"/>
                  <a:pt x="4655667" y="1113732"/>
                </a:cubicBezTo>
                <a:cubicBezTo>
                  <a:pt x="4677842" y="1097658"/>
                  <a:pt x="4711998" y="1089026"/>
                  <a:pt x="4758135" y="1087835"/>
                </a:cubicBezTo>
                <a:close/>
                <a:moveTo>
                  <a:pt x="2805510" y="1087835"/>
                </a:moveTo>
                <a:lnTo>
                  <a:pt x="2805510" y="1161952"/>
                </a:lnTo>
                <a:cubicBezTo>
                  <a:pt x="2805510" y="1175644"/>
                  <a:pt x="2801938" y="1188592"/>
                  <a:pt x="2794794" y="1200796"/>
                </a:cubicBezTo>
                <a:cubicBezTo>
                  <a:pt x="2787651" y="1213000"/>
                  <a:pt x="2777977" y="1222748"/>
                  <a:pt x="2765773" y="1230041"/>
                </a:cubicBezTo>
                <a:cubicBezTo>
                  <a:pt x="2753569" y="1237333"/>
                  <a:pt x="2740621" y="1240980"/>
                  <a:pt x="2726929" y="1240980"/>
                </a:cubicBezTo>
                <a:cubicBezTo>
                  <a:pt x="2709070" y="1240980"/>
                  <a:pt x="2695080" y="1236143"/>
                  <a:pt x="2684959" y="1226469"/>
                </a:cubicBezTo>
                <a:cubicBezTo>
                  <a:pt x="2674839" y="1216795"/>
                  <a:pt x="2669779" y="1202731"/>
                  <a:pt x="2669779" y="1184276"/>
                </a:cubicBezTo>
                <a:cubicBezTo>
                  <a:pt x="2669779" y="1153320"/>
                  <a:pt x="2680867" y="1129805"/>
                  <a:pt x="2703042" y="1113732"/>
                </a:cubicBezTo>
                <a:cubicBezTo>
                  <a:pt x="2725217" y="1097658"/>
                  <a:pt x="2759373" y="1089026"/>
                  <a:pt x="2805510" y="1087835"/>
                </a:cubicBezTo>
                <a:close/>
                <a:moveTo>
                  <a:pt x="3286820" y="918618"/>
                </a:moveTo>
                <a:cubicBezTo>
                  <a:pt x="3313907" y="918618"/>
                  <a:pt x="3333850" y="933054"/>
                  <a:pt x="3346649" y="961927"/>
                </a:cubicBezTo>
                <a:cubicBezTo>
                  <a:pt x="3359448" y="990800"/>
                  <a:pt x="3365848" y="1034555"/>
                  <a:pt x="3365848" y="1093193"/>
                </a:cubicBezTo>
                <a:cubicBezTo>
                  <a:pt x="3365848" y="1146474"/>
                  <a:pt x="3358630" y="1187476"/>
                  <a:pt x="3344193" y="1216200"/>
                </a:cubicBezTo>
                <a:cubicBezTo>
                  <a:pt x="3329757" y="1244924"/>
                  <a:pt x="3308847" y="1259285"/>
                  <a:pt x="3281463" y="1259285"/>
                </a:cubicBezTo>
                <a:cubicBezTo>
                  <a:pt x="3254971" y="1259285"/>
                  <a:pt x="3235400" y="1250579"/>
                  <a:pt x="3222750" y="1233166"/>
                </a:cubicBezTo>
                <a:cubicBezTo>
                  <a:pt x="3210099" y="1215753"/>
                  <a:pt x="3203774" y="1188741"/>
                  <a:pt x="3203774" y="1152129"/>
                </a:cubicBezTo>
                <a:lnTo>
                  <a:pt x="3203774" y="999878"/>
                </a:lnTo>
                <a:cubicBezTo>
                  <a:pt x="3203774" y="984698"/>
                  <a:pt x="3207941" y="970782"/>
                  <a:pt x="3216276" y="958132"/>
                </a:cubicBezTo>
                <a:cubicBezTo>
                  <a:pt x="3224610" y="945481"/>
                  <a:pt x="3235177" y="935733"/>
                  <a:pt x="3247976" y="928887"/>
                </a:cubicBezTo>
                <a:cubicBezTo>
                  <a:pt x="3260775" y="922041"/>
                  <a:pt x="3273723" y="918618"/>
                  <a:pt x="3286820" y="918618"/>
                </a:cubicBezTo>
                <a:close/>
                <a:moveTo>
                  <a:pt x="3806975" y="894954"/>
                </a:moveTo>
                <a:cubicBezTo>
                  <a:pt x="3834657" y="894954"/>
                  <a:pt x="3855567" y="910804"/>
                  <a:pt x="3869706" y="942505"/>
                </a:cubicBezTo>
                <a:cubicBezTo>
                  <a:pt x="3883844" y="974205"/>
                  <a:pt x="3890914" y="1022054"/>
                  <a:pt x="3890914" y="1086050"/>
                </a:cubicBezTo>
                <a:cubicBezTo>
                  <a:pt x="3890914" y="1112541"/>
                  <a:pt x="3889574" y="1136428"/>
                  <a:pt x="3886895" y="1157710"/>
                </a:cubicBezTo>
                <a:cubicBezTo>
                  <a:pt x="3884216" y="1178993"/>
                  <a:pt x="3879677" y="1197224"/>
                  <a:pt x="3873277" y="1212405"/>
                </a:cubicBezTo>
                <a:cubicBezTo>
                  <a:pt x="3866878" y="1227585"/>
                  <a:pt x="3858395" y="1239194"/>
                  <a:pt x="3847828" y="1247230"/>
                </a:cubicBezTo>
                <a:cubicBezTo>
                  <a:pt x="3837261" y="1255267"/>
                  <a:pt x="3824090" y="1259285"/>
                  <a:pt x="3808314" y="1259285"/>
                </a:cubicBezTo>
                <a:cubicBezTo>
                  <a:pt x="3779739" y="1259285"/>
                  <a:pt x="3758382" y="1243584"/>
                  <a:pt x="3744243" y="1212181"/>
                </a:cubicBezTo>
                <a:cubicBezTo>
                  <a:pt x="3730105" y="1180779"/>
                  <a:pt x="3723035" y="1133526"/>
                  <a:pt x="3723035" y="1070423"/>
                </a:cubicBezTo>
                <a:cubicBezTo>
                  <a:pt x="3723035" y="1030239"/>
                  <a:pt x="3725863" y="997348"/>
                  <a:pt x="3731519" y="971750"/>
                </a:cubicBezTo>
                <a:cubicBezTo>
                  <a:pt x="3737174" y="946151"/>
                  <a:pt x="3746104" y="926952"/>
                  <a:pt x="3758308" y="914153"/>
                </a:cubicBezTo>
                <a:cubicBezTo>
                  <a:pt x="3770512" y="901354"/>
                  <a:pt x="3786734" y="894954"/>
                  <a:pt x="3806975" y="894954"/>
                </a:cubicBezTo>
                <a:close/>
                <a:moveTo>
                  <a:pt x="1682901" y="894954"/>
                </a:moveTo>
                <a:cubicBezTo>
                  <a:pt x="1710583" y="894954"/>
                  <a:pt x="1731493" y="910804"/>
                  <a:pt x="1745632" y="942505"/>
                </a:cubicBezTo>
                <a:cubicBezTo>
                  <a:pt x="1759771" y="974205"/>
                  <a:pt x="1766840" y="1022054"/>
                  <a:pt x="1766840" y="1086050"/>
                </a:cubicBezTo>
                <a:cubicBezTo>
                  <a:pt x="1766840" y="1112541"/>
                  <a:pt x="1765500" y="1136428"/>
                  <a:pt x="1762822" y="1157710"/>
                </a:cubicBezTo>
                <a:cubicBezTo>
                  <a:pt x="1760143" y="1178993"/>
                  <a:pt x="1755603" y="1197224"/>
                  <a:pt x="1749204" y="1212405"/>
                </a:cubicBezTo>
                <a:cubicBezTo>
                  <a:pt x="1742804" y="1227585"/>
                  <a:pt x="1734321" y="1239194"/>
                  <a:pt x="1723754" y="1247230"/>
                </a:cubicBezTo>
                <a:cubicBezTo>
                  <a:pt x="1713187" y="1255267"/>
                  <a:pt x="1700016" y="1259285"/>
                  <a:pt x="1684240" y="1259285"/>
                </a:cubicBezTo>
                <a:cubicBezTo>
                  <a:pt x="1655665" y="1259285"/>
                  <a:pt x="1634308" y="1243584"/>
                  <a:pt x="1620170" y="1212181"/>
                </a:cubicBezTo>
                <a:cubicBezTo>
                  <a:pt x="1606031" y="1180779"/>
                  <a:pt x="1598962" y="1133526"/>
                  <a:pt x="1598962" y="1070423"/>
                </a:cubicBezTo>
                <a:cubicBezTo>
                  <a:pt x="1598962" y="1030239"/>
                  <a:pt x="1601789" y="997348"/>
                  <a:pt x="1607445" y="971750"/>
                </a:cubicBezTo>
                <a:cubicBezTo>
                  <a:pt x="1613100" y="946151"/>
                  <a:pt x="1622030" y="926952"/>
                  <a:pt x="1634234" y="914153"/>
                </a:cubicBezTo>
                <a:cubicBezTo>
                  <a:pt x="1646438" y="901354"/>
                  <a:pt x="1662660" y="894954"/>
                  <a:pt x="1682901" y="894954"/>
                </a:cubicBezTo>
                <a:close/>
                <a:moveTo>
                  <a:pt x="6361461" y="894508"/>
                </a:moveTo>
                <a:cubicBezTo>
                  <a:pt x="6383189" y="894508"/>
                  <a:pt x="6399337" y="904107"/>
                  <a:pt x="6409904" y="923306"/>
                </a:cubicBezTo>
                <a:cubicBezTo>
                  <a:pt x="6420471" y="942505"/>
                  <a:pt x="6425754" y="970410"/>
                  <a:pt x="6425754" y="1007022"/>
                </a:cubicBezTo>
                <a:cubicBezTo>
                  <a:pt x="6425754" y="1041848"/>
                  <a:pt x="6420322" y="1067744"/>
                  <a:pt x="6409458" y="1084710"/>
                </a:cubicBezTo>
                <a:cubicBezTo>
                  <a:pt x="6398593" y="1101676"/>
                  <a:pt x="6382892" y="1110160"/>
                  <a:pt x="6362354" y="1110160"/>
                </a:cubicBezTo>
                <a:cubicBezTo>
                  <a:pt x="6339732" y="1110160"/>
                  <a:pt x="6323137" y="1101007"/>
                  <a:pt x="6312571" y="1082701"/>
                </a:cubicBezTo>
                <a:cubicBezTo>
                  <a:pt x="6302004" y="1064395"/>
                  <a:pt x="6296720" y="1036490"/>
                  <a:pt x="6296720" y="998985"/>
                </a:cubicBezTo>
                <a:cubicBezTo>
                  <a:pt x="6296720" y="963564"/>
                  <a:pt x="6302004" y="937296"/>
                  <a:pt x="6312571" y="920181"/>
                </a:cubicBezTo>
                <a:cubicBezTo>
                  <a:pt x="6323137" y="903065"/>
                  <a:pt x="6339434" y="894508"/>
                  <a:pt x="6361461" y="894508"/>
                </a:cubicBezTo>
                <a:close/>
                <a:moveTo>
                  <a:pt x="5445125" y="852091"/>
                </a:moveTo>
                <a:lnTo>
                  <a:pt x="5322342" y="855663"/>
                </a:lnTo>
                <a:lnTo>
                  <a:pt x="5322342" y="886023"/>
                </a:lnTo>
                <a:cubicBezTo>
                  <a:pt x="5332462" y="888107"/>
                  <a:pt x="5340722" y="890563"/>
                  <a:pt x="5347121" y="893391"/>
                </a:cubicBezTo>
                <a:cubicBezTo>
                  <a:pt x="5353521" y="896218"/>
                  <a:pt x="5358581" y="900311"/>
                  <a:pt x="5362302" y="905669"/>
                </a:cubicBezTo>
                <a:cubicBezTo>
                  <a:pt x="5366023" y="911027"/>
                  <a:pt x="5368553" y="918170"/>
                  <a:pt x="5369892" y="927100"/>
                </a:cubicBezTo>
                <a:cubicBezTo>
                  <a:pt x="5371232" y="936030"/>
                  <a:pt x="5371901" y="947787"/>
                  <a:pt x="5371901" y="962372"/>
                </a:cubicBezTo>
                <a:lnTo>
                  <a:pt x="5371901" y="1169988"/>
                </a:lnTo>
                <a:cubicBezTo>
                  <a:pt x="5371901" y="1198265"/>
                  <a:pt x="5370934" y="1217761"/>
                  <a:pt x="5368999" y="1228477"/>
                </a:cubicBezTo>
                <a:cubicBezTo>
                  <a:pt x="5367064" y="1239193"/>
                  <a:pt x="5363344" y="1247676"/>
                  <a:pt x="5357837" y="1253927"/>
                </a:cubicBezTo>
                <a:cubicBezTo>
                  <a:pt x="5352330" y="1260177"/>
                  <a:pt x="5342285" y="1265238"/>
                  <a:pt x="5327699" y="1269107"/>
                </a:cubicBezTo>
                <a:lnTo>
                  <a:pt x="5327699" y="1298575"/>
                </a:lnTo>
                <a:lnTo>
                  <a:pt x="5545584" y="1298575"/>
                </a:lnTo>
                <a:lnTo>
                  <a:pt x="5545584" y="1269107"/>
                </a:lnTo>
                <a:cubicBezTo>
                  <a:pt x="5537249" y="1267024"/>
                  <a:pt x="5530552" y="1264642"/>
                  <a:pt x="5525492" y="1261963"/>
                </a:cubicBezTo>
                <a:cubicBezTo>
                  <a:pt x="5520432" y="1259284"/>
                  <a:pt x="5516562" y="1256308"/>
                  <a:pt x="5513883" y="1253034"/>
                </a:cubicBezTo>
                <a:cubicBezTo>
                  <a:pt x="5511204" y="1249759"/>
                  <a:pt x="5509046" y="1246188"/>
                  <a:pt x="5507409" y="1242318"/>
                </a:cubicBezTo>
                <a:cubicBezTo>
                  <a:pt x="5505772" y="1238449"/>
                  <a:pt x="5504507" y="1234058"/>
                  <a:pt x="5503614" y="1229147"/>
                </a:cubicBezTo>
                <a:cubicBezTo>
                  <a:pt x="5502721" y="1224235"/>
                  <a:pt x="5502052" y="1217241"/>
                  <a:pt x="5501605" y="1208162"/>
                </a:cubicBezTo>
                <a:cubicBezTo>
                  <a:pt x="5501159" y="1199083"/>
                  <a:pt x="5500935" y="1186210"/>
                  <a:pt x="5500935" y="1169541"/>
                </a:cubicBezTo>
                <a:lnTo>
                  <a:pt x="5500935" y="852091"/>
                </a:lnTo>
                <a:close/>
                <a:moveTo>
                  <a:pt x="6362799" y="848519"/>
                </a:moveTo>
                <a:cubicBezTo>
                  <a:pt x="6335415" y="848519"/>
                  <a:pt x="6309891" y="851421"/>
                  <a:pt x="6286227" y="857225"/>
                </a:cubicBezTo>
                <a:cubicBezTo>
                  <a:pt x="6262563" y="863030"/>
                  <a:pt x="6242025" y="872183"/>
                  <a:pt x="6224612" y="884684"/>
                </a:cubicBezTo>
                <a:cubicBezTo>
                  <a:pt x="6207199" y="897186"/>
                  <a:pt x="6193507" y="913333"/>
                  <a:pt x="6183536" y="933128"/>
                </a:cubicBezTo>
                <a:cubicBezTo>
                  <a:pt x="6173564" y="952922"/>
                  <a:pt x="6168578" y="976660"/>
                  <a:pt x="6168578" y="1004342"/>
                </a:cubicBezTo>
                <a:cubicBezTo>
                  <a:pt x="6168578" y="1032917"/>
                  <a:pt x="6174531" y="1057846"/>
                  <a:pt x="6186438" y="1079128"/>
                </a:cubicBezTo>
                <a:cubicBezTo>
                  <a:pt x="6198344" y="1100410"/>
                  <a:pt x="6215906" y="1117600"/>
                  <a:pt x="6239123" y="1130697"/>
                </a:cubicBezTo>
                <a:cubicBezTo>
                  <a:pt x="6223645" y="1142603"/>
                  <a:pt x="6211069" y="1153542"/>
                  <a:pt x="6201395" y="1163514"/>
                </a:cubicBezTo>
                <a:cubicBezTo>
                  <a:pt x="6191721" y="1173485"/>
                  <a:pt x="6183982" y="1184573"/>
                  <a:pt x="6178178" y="1196777"/>
                </a:cubicBezTo>
                <a:cubicBezTo>
                  <a:pt x="6172373" y="1208981"/>
                  <a:pt x="6169471" y="1222077"/>
                  <a:pt x="6169471" y="1236067"/>
                </a:cubicBezTo>
                <a:cubicBezTo>
                  <a:pt x="6169471" y="1253034"/>
                  <a:pt x="6172299" y="1267321"/>
                  <a:pt x="6177954" y="1278930"/>
                </a:cubicBezTo>
                <a:cubicBezTo>
                  <a:pt x="6183610" y="1290538"/>
                  <a:pt x="6192688" y="1300808"/>
                  <a:pt x="6205190" y="1309737"/>
                </a:cubicBezTo>
                <a:cubicBezTo>
                  <a:pt x="6185842" y="1319858"/>
                  <a:pt x="6170811" y="1332061"/>
                  <a:pt x="6160095" y="1346349"/>
                </a:cubicBezTo>
                <a:cubicBezTo>
                  <a:pt x="6149379" y="1360636"/>
                  <a:pt x="6144022" y="1376263"/>
                  <a:pt x="6144022" y="1393230"/>
                </a:cubicBezTo>
                <a:cubicBezTo>
                  <a:pt x="6144022" y="1414363"/>
                  <a:pt x="6149305" y="1431776"/>
                  <a:pt x="6159872" y="1445468"/>
                </a:cubicBezTo>
                <a:cubicBezTo>
                  <a:pt x="6170439" y="1459161"/>
                  <a:pt x="6185396" y="1469951"/>
                  <a:pt x="6204744" y="1477839"/>
                </a:cubicBezTo>
                <a:cubicBezTo>
                  <a:pt x="6224091" y="1485726"/>
                  <a:pt x="6247457" y="1491159"/>
                  <a:pt x="6274842" y="1494135"/>
                </a:cubicBezTo>
                <a:cubicBezTo>
                  <a:pt x="6302226" y="1497112"/>
                  <a:pt x="6332736" y="1498600"/>
                  <a:pt x="6366371" y="1498600"/>
                </a:cubicBezTo>
                <a:cubicBezTo>
                  <a:pt x="6412508" y="1498600"/>
                  <a:pt x="6452394" y="1492573"/>
                  <a:pt x="6486029" y="1480517"/>
                </a:cubicBezTo>
                <a:cubicBezTo>
                  <a:pt x="6519664" y="1468462"/>
                  <a:pt x="6545486" y="1450975"/>
                  <a:pt x="6563494" y="1428056"/>
                </a:cubicBezTo>
                <a:cubicBezTo>
                  <a:pt x="6581502" y="1405136"/>
                  <a:pt x="6590506" y="1377752"/>
                  <a:pt x="6590506" y="1345902"/>
                </a:cubicBezTo>
                <a:cubicBezTo>
                  <a:pt x="6590506" y="1305124"/>
                  <a:pt x="6578153" y="1275060"/>
                  <a:pt x="6553448" y="1255713"/>
                </a:cubicBezTo>
                <a:cubicBezTo>
                  <a:pt x="6528742" y="1236365"/>
                  <a:pt x="6491535" y="1226691"/>
                  <a:pt x="6441827" y="1226691"/>
                </a:cubicBezTo>
                <a:lnTo>
                  <a:pt x="6331099" y="1226691"/>
                </a:lnTo>
                <a:cubicBezTo>
                  <a:pt x="6314728" y="1226691"/>
                  <a:pt x="6302077" y="1225426"/>
                  <a:pt x="6293147" y="1222896"/>
                </a:cubicBezTo>
                <a:cubicBezTo>
                  <a:pt x="6284218" y="1220366"/>
                  <a:pt x="6277893" y="1216720"/>
                  <a:pt x="6274172" y="1211957"/>
                </a:cubicBezTo>
                <a:cubicBezTo>
                  <a:pt x="6270451" y="1207195"/>
                  <a:pt x="6268591" y="1200349"/>
                  <a:pt x="6268591" y="1191419"/>
                </a:cubicBezTo>
                <a:cubicBezTo>
                  <a:pt x="6268591" y="1175941"/>
                  <a:pt x="6276032" y="1161504"/>
                  <a:pt x="6290915" y="1148110"/>
                </a:cubicBezTo>
                <a:cubicBezTo>
                  <a:pt x="6309667" y="1153468"/>
                  <a:pt x="6333778" y="1156147"/>
                  <a:pt x="6363246" y="1156147"/>
                </a:cubicBezTo>
                <a:cubicBezTo>
                  <a:pt x="6424265" y="1156147"/>
                  <a:pt x="6470476" y="1142752"/>
                  <a:pt x="6501879" y="1115963"/>
                </a:cubicBezTo>
                <a:cubicBezTo>
                  <a:pt x="6533282" y="1089174"/>
                  <a:pt x="6548983" y="1049883"/>
                  <a:pt x="6548983" y="998091"/>
                </a:cubicBezTo>
                <a:cubicBezTo>
                  <a:pt x="6548983" y="977850"/>
                  <a:pt x="6546230" y="960512"/>
                  <a:pt x="6540723" y="946076"/>
                </a:cubicBezTo>
                <a:cubicBezTo>
                  <a:pt x="6535216" y="931639"/>
                  <a:pt x="6528296" y="920254"/>
                  <a:pt x="6519962" y="911920"/>
                </a:cubicBezTo>
                <a:lnTo>
                  <a:pt x="6521747" y="907008"/>
                </a:lnTo>
                <a:lnTo>
                  <a:pt x="6598096" y="915491"/>
                </a:lnTo>
                <a:lnTo>
                  <a:pt x="6598096" y="855663"/>
                </a:lnTo>
                <a:lnTo>
                  <a:pt x="6436915" y="855663"/>
                </a:lnTo>
                <a:cubicBezTo>
                  <a:pt x="6425902" y="853877"/>
                  <a:pt x="6414591" y="852240"/>
                  <a:pt x="6402983" y="850751"/>
                </a:cubicBezTo>
                <a:cubicBezTo>
                  <a:pt x="6391374" y="849263"/>
                  <a:pt x="6377979" y="848519"/>
                  <a:pt x="6362799" y="848519"/>
                </a:cubicBezTo>
                <a:close/>
                <a:moveTo>
                  <a:pt x="5926435" y="848519"/>
                </a:moveTo>
                <a:cubicBezTo>
                  <a:pt x="5909469" y="848519"/>
                  <a:pt x="5893321" y="851272"/>
                  <a:pt x="5877991" y="856779"/>
                </a:cubicBezTo>
                <a:cubicBezTo>
                  <a:pt x="5862662" y="862285"/>
                  <a:pt x="5848003" y="869727"/>
                  <a:pt x="5834013" y="879103"/>
                </a:cubicBezTo>
                <a:cubicBezTo>
                  <a:pt x="5820023" y="888479"/>
                  <a:pt x="5803801" y="901353"/>
                  <a:pt x="5785346" y="917724"/>
                </a:cubicBezTo>
                <a:lnTo>
                  <a:pt x="5779988" y="916384"/>
                </a:lnTo>
                <a:lnTo>
                  <a:pt x="5786685" y="852091"/>
                </a:lnTo>
                <a:lnTo>
                  <a:pt x="5730428" y="852091"/>
                </a:lnTo>
                <a:lnTo>
                  <a:pt x="5608092" y="855663"/>
                </a:lnTo>
                <a:lnTo>
                  <a:pt x="5608092" y="886023"/>
                </a:lnTo>
                <a:cubicBezTo>
                  <a:pt x="5622379" y="889000"/>
                  <a:pt x="5632425" y="892498"/>
                  <a:pt x="5638229" y="896516"/>
                </a:cubicBezTo>
                <a:cubicBezTo>
                  <a:pt x="5644034" y="900534"/>
                  <a:pt x="5648350" y="905743"/>
                  <a:pt x="5651177" y="912143"/>
                </a:cubicBezTo>
                <a:cubicBezTo>
                  <a:pt x="5654005" y="918542"/>
                  <a:pt x="5655791" y="927026"/>
                  <a:pt x="5656535" y="937592"/>
                </a:cubicBezTo>
                <a:cubicBezTo>
                  <a:pt x="5657279" y="948159"/>
                  <a:pt x="5657651" y="964456"/>
                  <a:pt x="5657651" y="986482"/>
                </a:cubicBezTo>
                <a:lnTo>
                  <a:pt x="5657651" y="1169988"/>
                </a:lnTo>
                <a:cubicBezTo>
                  <a:pt x="5657651" y="1198265"/>
                  <a:pt x="5656684" y="1217761"/>
                  <a:pt x="5654749" y="1228477"/>
                </a:cubicBezTo>
                <a:cubicBezTo>
                  <a:pt x="5652814" y="1239193"/>
                  <a:pt x="5649094" y="1247676"/>
                  <a:pt x="5643587" y="1253927"/>
                </a:cubicBezTo>
                <a:cubicBezTo>
                  <a:pt x="5638080" y="1260177"/>
                  <a:pt x="5628183" y="1265238"/>
                  <a:pt x="5613896" y="1269107"/>
                </a:cubicBezTo>
                <a:lnTo>
                  <a:pt x="5613896" y="1298575"/>
                </a:lnTo>
                <a:lnTo>
                  <a:pt x="5829548" y="1298575"/>
                </a:lnTo>
                <a:lnTo>
                  <a:pt x="5829548" y="1269107"/>
                </a:lnTo>
                <a:cubicBezTo>
                  <a:pt x="5815558" y="1265833"/>
                  <a:pt x="5805810" y="1260996"/>
                  <a:pt x="5800303" y="1254596"/>
                </a:cubicBezTo>
                <a:cubicBezTo>
                  <a:pt x="5794796" y="1248197"/>
                  <a:pt x="5791150" y="1239490"/>
                  <a:pt x="5789364" y="1228477"/>
                </a:cubicBezTo>
                <a:cubicBezTo>
                  <a:pt x="5787578" y="1217464"/>
                  <a:pt x="5786685" y="1197818"/>
                  <a:pt x="5786685" y="1169541"/>
                </a:cubicBezTo>
                <a:lnTo>
                  <a:pt x="5786685" y="997645"/>
                </a:lnTo>
                <a:cubicBezTo>
                  <a:pt x="5786685" y="983655"/>
                  <a:pt x="5790853" y="970483"/>
                  <a:pt x="5799187" y="958131"/>
                </a:cubicBezTo>
                <a:cubicBezTo>
                  <a:pt x="5807521" y="945778"/>
                  <a:pt x="5817790" y="936104"/>
                  <a:pt x="5829994" y="929109"/>
                </a:cubicBezTo>
                <a:cubicBezTo>
                  <a:pt x="5842198" y="922114"/>
                  <a:pt x="5853956" y="918617"/>
                  <a:pt x="5865267" y="918617"/>
                </a:cubicBezTo>
                <a:cubicBezTo>
                  <a:pt x="5873601" y="918617"/>
                  <a:pt x="5880447" y="919510"/>
                  <a:pt x="5885805" y="921296"/>
                </a:cubicBezTo>
                <a:cubicBezTo>
                  <a:pt x="5891163" y="923082"/>
                  <a:pt x="5895925" y="925835"/>
                  <a:pt x="5900092" y="929556"/>
                </a:cubicBezTo>
                <a:cubicBezTo>
                  <a:pt x="5904260" y="933276"/>
                  <a:pt x="5908055" y="938039"/>
                  <a:pt x="5911478" y="943843"/>
                </a:cubicBezTo>
                <a:cubicBezTo>
                  <a:pt x="5914901" y="949648"/>
                  <a:pt x="5917580" y="956866"/>
                  <a:pt x="5919514" y="965498"/>
                </a:cubicBezTo>
                <a:cubicBezTo>
                  <a:pt x="5921449" y="974130"/>
                  <a:pt x="5922863" y="985218"/>
                  <a:pt x="5923756" y="998761"/>
                </a:cubicBezTo>
                <a:cubicBezTo>
                  <a:pt x="5924649" y="1012304"/>
                  <a:pt x="5925096" y="1029643"/>
                  <a:pt x="5925096" y="1050776"/>
                </a:cubicBezTo>
                <a:lnTo>
                  <a:pt x="5925096" y="1169988"/>
                </a:lnTo>
                <a:cubicBezTo>
                  <a:pt x="5925096" y="1198265"/>
                  <a:pt x="5924128" y="1217836"/>
                  <a:pt x="5922193" y="1228700"/>
                </a:cubicBezTo>
                <a:cubicBezTo>
                  <a:pt x="5920259" y="1239565"/>
                  <a:pt x="5916612" y="1248197"/>
                  <a:pt x="5911254" y="1254596"/>
                </a:cubicBezTo>
                <a:cubicBezTo>
                  <a:pt x="5905897" y="1260996"/>
                  <a:pt x="5896372" y="1265833"/>
                  <a:pt x="5882679" y="1269107"/>
                </a:cubicBezTo>
                <a:lnTo>
                  <a:pt x="5882679" y="1298575"/>
                </a:lnTo>
                <a:lnTo>
                  <a:pt x="6099224" y="1298575"/>
                </a:lnTo>
                <a:lnTo>
                  <a:pt x="6099224" y="1269107"/>
                </a:lnTo>
                <a:cubicBezTo>
                  <a:pt x="6091188" y="1267024"/>
                  <a:pt x="6084342" y="1264493"/>
                  <a:pt x="6078686" y="1261517"/>
                </a:cubicBezTo>
                <a:cubicBezTo>
                  <a:pt x="6073031" y="1258540"/>
                  <a:pt x="6068640" y="1254894"/>
                  <a:pt x="6065515" y="1250578"/>
                </a:cubicBezTo>
                <a:cubicBezTo>
                  <a:pt x="6062389" y="1246262"/>
                  <a:pt x="6059934" y="1240681"/>
                  <a:pt x="6058148" y="1233835"/>
                </a:cubicBezTo>
                <a:cubicBezTo>
                  <a:pt x="6056362" y="1226989"/>
                  <a:pt x="6055246" y="1217836"/>
                  <a:pt x="6054799" y="1206376"/>
                </a:cubicBezTo>
                <a:cubicBezTo>
                  <a:pt x="6054353" y="1194916"/>
                  <a:pt x="6054129" y="1182638"/>
                  <a:pt x="6054129" y="1169541"/>
                </a:cubicBezTo>
                <a:lnTo>
                  <a:pt x="6054129" y="1006128"/>
                </a:lnTo>
                <a:cubicBezTo>
                  <a:pt x="6054129" y="980529"/>
                  <a:pt x="6051971" y="958056"/>
                  <a:pt x="6047655" y="938709"/>
                </a:cubicBezTo>
                <a:cubicBezTo>
                  <a:pt x="6043339" y="919361"/>
                  <a:pt x="6036196" y="902990"/>
                  <a:pt x="6026224" y="889595"/>
                </a:cubicBezTo>
                <a:cubicBezTo>
                  <a:pt x="6016253" y="876201"/>
                  <a:pt x="6003230" y="866006"/>
                  <a:pt x="5987157" y="859011"/>
                </a:cubicBezTo>
                <a:cubicBezTo>
                  <a:pt x="5971083" y="852016"/>
                  <a:pt x="5950843" y="848519"/>
                  <a:pt x="5926435" y="848519"/>
                </a:cubicBezTo>
                <a:close/>
                <a:moveTo>
                  <a:pt x="4735810" y="848519"/>
                </a:moveTo>
                <a:cubicBezTo>
                  <a:pt x="4721820" y="848519"/>
                  <a:pt x="4707830" y="849412"/>
                  <a:pt x="4693840" y="851198"/>
                </a:cubicBezTo>
                <a:cubicBezTo>
                  <a:pt x="4679850" y="852984"/>
                  <a:pt x="4664000" y="856035"/>
                  <a:pt x="4646290" y="860351"/>
                </a:cubicBezTo>
                <a:cubicBezTo>
                  <a:pt x="4628579" y="864667"/>
                  <a:pt x="4610645" y="870099"/>
                  <a:pt x="4592488" y="876647"/>
                </a:cubicBezTo>
                <a:cubicBezTo>
                  <a:pt x="4574331" y="883196"/>
                  <a:pt x="4551561" y="892572"/>
                  <a:pt x="4524176" y="904776"/>
                </a:cubicBezTo>
                <a:lnTo>
                  <a:pt x="4524176" y="986036"/>
                </a:lnTo>
                <a:lnTo>
                  <a:pt x="4608562" y="986036"/>
                </a:lnTo>
                <a:cubicBezTo>
                  <a:pt x="4612431" y="962521"/>
                  <a:pt x="4618384" y="944141"/>
                  <a:pt x="4626421" y="930895"/>
                </a:cubicBezTo>
                <a:cubicBezTo>
                  <a:pt x="4634458" y="917649"/>
                  <a:pt x="4643462" y="908645"/>
                  <a:pt x="4653433" y="903883"/>
                </a:cubicBezTo>
                <a:cubicBezTo>
                  <a:pt x="4663405" y="899120"/>
                  <a:pt x="4675237" y="896739"/>
                  <a:pt x="4688929" y="896739"/>
                </a:cubicBezTo>
                <a:cubicBezTo>
                  <a:pt x="4702621" y="896739"/>
                  <a:pt x="4714379" y="899790"/>
                  <a:pt x="4724201" y="905892"/>
                </a:cubicBezTo>
                <a:cubicBezTo>
                  <a:pt x="4734024" y="911994"/>
                  <a:pt x="4742061" y="922561"/>
                  <a:pt x="4748311" y="937592"/>
                </a:cubicBezTo>
                <a:cubicBezTo>
                  <a:pt x="4754562" y="952624"/>
                  <a:pt x="4757688" y="973981"/>
                  <a:pt x="4757688" y="1001663"/>
                </a:cubicBezTo>
                <a:lnTo>
                  <a:pt x="4757688" y="1044079"/>
                </a:lnTo>
                <a:cubicBezTo>
                  <a:pt x="4670177" y="1050627"/>
                  <a:pt x="4604916" y="1066478"/>
                  <a:pt x="4561904" y="1091630"/>
                </a:cubicBezTo>
                <a:cubicBezTo>
                  <a:pt x="4518893" y="1116782"/>
                  <a:pt x="4497387" y="1151235"/>
                  <a:pt x="4497387" y="1194991"/>
                </a:cubicBezTo>
                <a:cubicBezTo>
                  <a:pt x="4497387" y="1216720"/>
                  <a:pt x="4502224" y="1235918"/>
                  <a:pt x="4511898" y="1252587"/>
                </a:cubicBezTo>
                <a:cubicBezTo>
                  <a:pt x="4521572" y="1269256"/>
                  <a:pt x="4535859" y="1282278"/>
                  <a:pt x="4554760" y="1291655"/>
                </a:cubicBezTo>
                <a:cubicBezTo>
                  <a:pt x="4573662" y="1301031"/>
                  <a:pt x="4595911" y="1305719"/>
                  <a:pt x="4621510" y="1305719"/>
                </a:cubicBezTo>
                <a:cubicBezTo>
                  <a:pt x="4647406" y="1305719"/>
                  <a:pt x="4671888" y="1300361"/>
                  <a:pt x="4694957" y="1289645"/>
                </a:cubicBezTo>
                <a:cubicBezTo>
                  <a:pt x="4718025" y="1278930"/>
                  <a:pt x="4741763" y="1261666"/>
                  <a:pt x="4766171" y="1237853"/>
                </a:cubicBezTo>
                <a:lnTo>
                  <a:pt x="4772868" y="1240086"/>
                </a:lnTo>
                <a:lnTo>
                  <a:pt x="4768850" y="1298575"/>
                </a:lnTo>
                <a:lnTo>
                  <a:pt x="4934942" y="1298575"/>
                </a:lnTo>
                <a:lnTo>
                  <a:pt x="4934942" y="1269107"/>
                </a:lnTo>
                <a:cubicBezTo>
                  <a:pt x="4923036" y="1266131"/>
                  <a:pt x="4914924" y="1263675"/>
                  <a:pt x="4910608" y="1261740"/>
                </a:cubicBezTo>
                <a:cubicBezTo>
                  <a:pt x="4906292" y="1259805"/>
                  <a:pt x="4902646" y="1257275"/>
                  <a:pt x="4899670" y="1254150"/>
                </a:cubicBezTo>
                <a:cubicBezTo>
                  <a:pt x="4896693" y="1251025"/>
                  <a:pt x="4894237" y="1246857"/>
                  <a:pt x="4892303" y="1241648"/>
                </a:cubicBezTo>
                <a:cubicBezTo>
                  <a:pt x="4890368" y="1236439"/>
                  <a:pt x="4888954" y="1228477"/>
                  <a:pt x="4888061" y="1217761"/>
                </a:cubicBezTo>
                <a:cubicBezTo>
                  <a:pt x="4887168" y="1207046"/>
                  <a:pt x="4886722" y="1191865"/>
                  <a:pt x="4886722" y="1172220"/>
                </a:cubicBezTo>
                <a:lnTo>
                  <a:pt x="4886722" y="998091"/>
                </a:lnTo>
                <a:cubicBezTo>
                  <a:pt x="4886722" y="960289"/>
                  <a:pt x="4881364" y="930672"/>
                  <a:pt x="4870648" y="909241"/>
                </a:cubicBezTo>
                <a:cubicBezTo>
                  <a:pt x="4859933" y="887809"/>
                  <a:pt x="4843785" y="872331"/>
                  <a:pt x="4822205" y="862806"/>
                </a:cubicBezTo>
                <a:cubicBezTo>
                  <a:pt x="4800624" y="853281"/>
                  <a:pt x="4771826" y="848519"/>
                  <a:pt x="4735810" y="848519"/>
                </a:cubicBezTo>
                <a:close/>
                <a:moveTo>
                  <a:pt x="4422824" y="848519"/>
                </a:moveTo>
                <a:cubicBezTo>
                  <a:pt x="4396035" y="848519"/>
                  <a:pt x="4371181" y="854174"/>
                  <a:pt x="4348261" y="865485"/>
                </a:cubicBezTo>
                <a:cubicBezTo>
                  <a:pt x="4325342" y="876796"/>
                  <a:pt x="4303018" y="895251"/>
                  <a:pt x="4281289" y="920849"/>
                </a:cubicBezTo>
                <a:lnTo>
                  <a:pt x="4275484" y="919510"/>
                </a:lnTo>
                <a:lnTo>
                  <a:pt x="4281735" y="852091"/>
                </a:lnTo>
                <a:lnTo>
                  <a:pt x="4225478" y="852091"/>
                </a:lnTo>
                <a:lnTo>
                  <a:pt x="4103141" y="855663"/>
                </a:lnTo>
                <a:lnTo>
                  <a:pt x="4103141" y="886023"/>
                </a:lnTo>
                <a:cubicBezTo>
                  <a:pt x="4117429" y="889000"/>
                  <a:pt x="4127475" y="892498"/>
                  <a:pt x="4133279" y="896516"/>
                </a:cubicBezTo>
                <a:cubicBezTo>
                  <a:pt x="4139083" y="900534"/>
                  <a:pt x="4143399" y="905743"/>
                  <a:pt x="4146227" y="912143"/>
                </a:cubicBezTo>
                <a:cubicBezTo>
                  <a:pt x="4149055" y="918542"/>
                  <a:pt x="4150841" y="927026"/>
                  <a:pt x="4151585" y="937592"/>
                </a:cubicBezTo>
                <a:cubicBezTo>
                  <a:pt x="4152329" y="948159"/>
                  <a:pt x="4152701" y="964456"/>
                  <a:pt x="4152701" y="986482"/>
                </a:cubicBezTo>
                <a:lnTo>
                  <a:pt x="4152701" y="1169988"/>
                </a:lnTo>
                <a:cubicBezTo>
                  <a:pt x="4152701" y="1198265"/>
                  <a:pt x="4151734" y="1217761"/>
                  <a:pt x="4149799" y="1228477"/>
                </a:cubicBezTo>
                <a:cubicBezTo>
                  <a:pt x="4147864" y="1239193"/>
                  <a:pt x="4144144" y="1247676"/>
                  <a:pt x="4138637" y="1253927"/>
                </a:cubicBezTo>
                <a:cubicBezTo>
                  <a:pt x="4133130" y="1260177"/>
                  <a:pt x="4123233" y="1265238"/>
                  <a:pt x="4108946" y="1269107"/>
                </a:cubicBezTo>
                <a:lnTo>
                  <a:pt x="4108946" y="1298575"/>
                </a:lnTo>
                <a:lnTo>
                  <a:pt x="4329063" y="1298575"/>
                </a:lnTo>
                <a:lnTo>
                  <a:pt x="4329063" y="1269107"/>
                </a:lnTo>
                <a:cubicBezTo>
                  <a:pt x="4314180" y="1266428"/>
                  <a:pt x="4303613" y="1261889"/>
                  <a:pt x="4297362" y="1255489"/>
                </a:cubicBezTo>
                <a:cubicBezTo>
                  <a:pt x="4291111" y="1249090"/>
                  <a:pt x="4286944" y="1240234"/>
                  <a:pt x="4284861" y="1228924"/>
                </a:cubicBezTo>
                <a:cubicBezTo>
                  <a:pt x="4282777" y="1217613"/>
                  <a:pt x="4281735" y="1197818"/>
                  <a:pt x="4281735" y="1169541"/>
                </a:cubicBezTo>
                <a:lnTo>
                  <a:pt x="4281735" y="1027113"/>
                </a:lnTo>
                <a:cubicBezTo>
                  <a:pt x="4281735" y="1011634"/>
                  <a:pt x="4282182" y="1000026"/>
                  <a:pt x="4283075" y="992287"/>
                </a:cubicBezTo>
                <a:cubicBezTo>
                  <a:pt x="4283968" y="984548"/>
                  <a:pt x="4285828" y="976883"/>
                  <a:pt x="4288656" y="969293"/>
                </a:cubicBezTo>
                <a:cubicBezTo>
                  <a:pt x="4291483" y="961703"/>
                  <a:pt x="4296246" y="954261"/>
                  <a:pt x="4302943" y="946969"/>
                </a:cubicBezTo>
                <a:cubicBezTo>
                  <a:pt x="4309641" y="939676"/>
                  <a:pt x="4316933" y="934021"/>
                  <a:pt x="4324821" y="930002"/>
                </a:cubicBezTo>
                <a:cubicBezTo>
                  <a:pt x="4332709" y="925984"/>
                  <a:pt x="4339927" y="923975"/>
                  <a:pt x="4346475" y="923975"/>
                </a:cubicBezTo>
                <a:cubicBezTo>
                  <a:pt x="4360168" y="923975"/>
                  <a:pt x="4371107" y="928588"/>
                  <a:pt x="4379292" y="937816"/>
                </a:cubicBezTo>
                <a:cubicBezTo>
                  <a:pt x="4387478" y="947043"/>
                  <a:pt x="4394100" y="960289"/>
                  <a:pt x="4399161" y="977553"/>
                </a:cubicBezTo>
                <a:lnTo>
                  <a:pt x="4479974" y="977553"/>
                </a:lnTo>
                <a:lnTo>
                  <a:pt x="4479974" y="854323"/>
                </a:lnTo>
                <a:cubicBezTo>
                  <a:pt x="4460031" y="850454"/>
                  <a:pt x="4440981" y="848519"/>
                  <a:pt x="4422824" y="848519"/>
                </a:cubicBezTo>
                <a:close/>
                <a:moveTo>
                  <a:pt x="3808759" y="848519"/>
                </a:moveTo>
                <a:cubicBezTo>
                  <a:pt x="3776910" y="848519"/>
                  <a:pt x="3747368" y="853058"/>
                  <a:pt x="3720132" y="862137"/>
                </a:cubicBezTo>
                <a:cubicBezTo>
                  <a:pt x="3692897" y="871215"/>
                  <a:pt x="3669456" y="885279"/>
                  <a:pt x="3649811" y="904329"/>
                </a:cubicBezTo>
                <a:cubicBezTo>
                  <a:pt x="3630166" y="923379"/>
                  <a:pt x="3614836" y="947489"/>
                  <a:pt x="3603823" y="976660"/>
                </a:cubicBezTo>
                <a:cubicBezTo>
                  <a:pt x="3592810" y="1005830"/>
                  <a:pt x="3587303" y="1040358"/>
                  <a:pt x="3587303" y="1080244"/>
                </a:cubicBezTo>
                <a:cubicBezTo>
                  <a:pt x="3587303" y="1132334"/>
                  <a:pt x="3596233" y="1175271"/>
                  <a:pt x="3614092" y="1209055"/>
                </a:cubicBezTo>
                <a:cubicBezTo>
                  <a:pt x="3631952" y="1242839"/>
                  <a:pt x="3656732" y="1267396"/>
                  <a:pt x="3688432" y="1282725"/>
                </a:cubicBezTo>
                <a:cubicBezTo>
                  <a:pt x="3720132" y="1298054"/>
                  <a:pt x="3757860" y="1305719"/>
                  <a:pt x="3801616" y="1305719"/>
                </a:cubicBezTo>
                <a:cubicBezTo>
                  <a:pt x="3848050" y="1305719"/>
                  <a:pt x="3888085" y="1297236"/>
                  <a:pt x="3921720" y="1280269"/>
                </a:cubicBezTo>
                <a:cubicBezTo>
                  <a:pt x="3955355" y="1263303"/>
                  <a:pt x="3981251" y="1237332"/>
                  <a:pt x="3999408" y="1202358"/>
                </a:cubicBezTo>
                <a:cubicBezTo>
                  <a:pt x="4017565" y="1167383"/>
                  <a:pt x="4026644" y="1124000"/>
                  <a:pt x="4026644" y="1072208"/>
                </a:cubicBezTo>
                <a:cubicBezTo>
                  <a:pt x="4026644" y="998984"/>
                  <a:pt x="4008338" y="943397"/>
                  <a:pt x="3971726" y="905446"/>
                </a:cubicBezTo>
                <a:cubicBezTo>
                  <a:pt x="3935115" y="867494"/>
                  <a:pt x="3880792" y="848519"/>
                  <a:pt x="3808759" y="848519"/>
                </a:cubicBezTo>
                <a:close/>
                <a:moveTo>
                  <a:pt x="2783185" y="848519"/>
                </a:moveTo>
                <a:cubicBezTo>
                  <a:pt x="2769195" y="848519"/>
                  <a:pt x="2755205" y="849412"/>
                  <a:pt x="2741215" y="851198"/>
                </a:cubicBezTo>
                <a:cubicBezTo>
                  <a:pt x="2727226" y="852984"/>
                  <a:pt x="2711375" y="856035"/>
                  <a:pt x="2693665" y="860351"/>
                </a:cubicBezTo>
                <a:cubicBezTo>
                  <a:pt x="2675954" y="864667"/>
                  <a:pt x="2658021" y="870099"/>
                  <a:pt x="2639864" y="876647"/>
                </a:cubicBezTo>
                <a:cubicBezTo>
                  <a:pt x="2621706" y="883196"/>
                  <a:pt x="2598936" y="892572"/>
                  <a:pt x="2571551" y="904776"/>
                </a:cubicBezTo>
                <a:lnTo>
                  <a:pt x="2571551" y="986036"/>
                </a:lnTo>
                <a:lnTo>
                  <a:pt x="2655937" y="986036"/>
                </a:lnTo>
                <a:cubicBezTo>
                  <a:pt x="2659807" y="962521"/>
                  <a:pt x="2665760" y="944141"/>
                  <a:pt x="2673796" y="930895"/>
                </a:cubicBezTo>
                <a:cubicBezTo>
                  <a:pt x="2681833" y="917649"/>
                  <a:pt x="2690837" y="908645"/>
                  <a:pt x="2700809" y="903883"/>
                </a:cubicBezTo>
                <a:cubicBezTo>
                  <a:pt x="2710780" y="899120"/>
                  <a:pt x="2722612" y="896739"/>
                  <a:pt x="2736304" y="896739"/>
                </a:cubicBezTo>
                <a:cubicBezTo>
                  <a:pt x="2749996" y="896739"/>
                  <a:pt x="2761754" y="899790"/>
                  <a:pt x="2771576" y="905892"/>
                </a:cubicBezTo>
                <a:cubicBezTo>
                  <a:pt x="2781399" y="911994"/>
                  <a:pt x="2789436" y="922561"/>
                  <a:pt x="2795687" y="937592"/>
                </a:cubicBezTo>
                <a:cubicBezTo>
                  <a:pt x="2801937" y="952624"/>
                  <a:pt x="2805063" y="973981"/>
                  <a:pt x="2805063" y="1001663"/>
                </a:cubicBezTo>
                <a:lnTo>
                  <a:pt x="2805063" y="1044079"/>
                </a:lnTo>
                <a:cubicBezTo>
                  <a:pt x="2717552" y="1050627"/>
                  <a:pt x="2652291" y="1066478"/>
                  <a:pt x="2609279" y="1091630"/>
                </a:cubicBezTo>
                <a:cubicBezTo>
                  <a:pt x="2566268" y="1116782"/>
                  <a:pt x="2544762" y="1151235"/>
                  <a:pt x="2544762" y="1194991"/>
                </a:cubicBezTo>
                <a:cubicBezTo>
                  <a:pt x="2544762" y="1216720"/>
                  <a:pt x="2549599" y="1235918"/>
                  <a:pt x="2559273" y="1252587"/>
                </a:cubicBezTo>
                <a:cubicBezTo>
                  <a:pt x="2568947" y="1269256"/>
                  <a:pt x="2583234" y="1282278"/>
                  <a:pt x="2602136" y="1291655"/>
                </a:cubicBezTo>
                <a:cubicBezTo>
                  <a:pt x="2621037" y="1301031"/>
                  <a:pt x="2643286" y="1305719"/>
                  <a:pt x="2668885" y="1305719"/>
                </a:cubicBezTo>
                <a:cubicBezTo>
                  <a:pt x="2694781" y="1305719"/>
                  <a:pt x="2719263" y="1300361"/>
                  <a:pt x="2742332" y="1289645"/>
                </a:cubicBezTo>
                <a:cubicBezTo>
                  <a:pt x="2765400" y="1278930"/>
                  <a:pt x="2789138" y="1261666"/>
                  <a:pt x="2813546" y="1237853"/>
                </a:cubicBezTo>
                <a:lnTo>
                  <a:pt x="2820243" y="1240086"/>
                </a:lnTo>
                <a:lnTo>
                  <a:pt x="2816225" y="1298575"/>
                </a:lnTo>
                <a:lnTo>
                  <a:pt x="2982317" y="1298575"/>
                </a:lnTo>
                <a:lnTo>
                  <a:pt x="2982317" y="1269107"/>
                </a:lnTo>
                <a:cubicBezTo>
                  <a:pt x="2970411" y="1266131"/>
                  <a:pt x="2962300" y="1263675"/>
                  <a:pt x="2957984" y="1261740"/>
                </a:cubicBezTo>
                <a:cubicBezTo>
                  <a:pt x="2953668" y="1259805"/>
                  <a:pt x="2950021" y="1257275"/>
                  <a:pt x="2947045" y="1254150"/>
                </a:cubicBezTo>
                <a:cubicBezTo>
                  <a:pt x="2944068" y="1251025"/>
                  <a:pt x="2941613" y="1246857"/>
                  <a:pt x="2939678" y="1241648"/>
                </a:cubicBezTo>
                <a:cubicBezTo>
                  <a:pt x="2937743" y="1236439"/>
                  <a:pt x="2936329" y="1228477"/>
                  <a:pt x="2935436" y="1217761"/>
                </a:cubicBezTo>
                <a:cubicBezTo>
                  <a:pt x="2934543" y="1207046"/>
                  <a:pt x="2934097" y="1191865"/>
                  <a:pt x="2934097" y="1172220"/>
                </a:cubicBezTo>
                <a:lnTo>
                  <a:pt x="2934097" y="998091"/>
                </a:lnTo>
                <a:cubicBezTo>
                  <a:pt x="2934097" y="960289"/>
                  <a:pt x="2928739" y="930672"/>
                  <a:pt x="2918023" y="909241"/>
                </a:cubicBezTo>
                <a:cubicBezTo>
                  <a:pt x="2907308" y="887809"/>
                  <a:pt x="2891160" y="872331"/>
                  <a:pt x="2869580" y="862806"/>
                </a:cubicBezTo>
                <a:cubicBezTo>
                  <a:pt x="2848000" y="853281"/>
                  <a:pt x="2819201" y="848519"/>
                  <a:pt x="2783185" y="848519"/>
                </a:cubicBezTo>
                <a:close/>
                <a:moveTo>
                  <a:pt x="1684685" y="848519"/>
                </a:moveTo>
                <a:cubicBezTo>
                  <a:pt x="1652835" y="848519"/>
                  <a:pt x="1623293" y="853058"/>
                  <a:pt x="1596057" y="862137"/>
                </a:cubicBezTo>
                <a:cubicBezTo>
                  <a:pt x="1568822" y="871215"/>
                  <a:pt x="1545381" y="885279"/>
                  <a:pt x="1525736" y="904329"/>
                </a:cubicBezTo>
                <a:cubicBezTo>
                  <a:pt x="1506091" y="923379"/>
                  <a:pt x="1490762" y="947489"/>
                  <a:pt x="1479748" y="976660"/>
                </a:cubicBezTo>
                <a:cubicBezTo>
                  <a:pt x="1468735" y="1005830"/>
                  <a:pt x="1463228" y="1040358"/>
                  <a:pt x="1463228" y="1080244"/>
                </a:cubicBezTo>
                <a:cubicBezTo>
                  <a:pt x="1463228" y="1132334"/>
                  <a:pt x="1472158" y="1175271"/>
                  <a:pt x="1490017" y="1209055"/>
                </a:cubicBezTo>
                <a:cubicBezTo>
                  <a:pt x="1507877" y="1242839"/>
                  <a:pt x="1532657" y="1267396"/>
                  <a:pt x="1564357" y="1282725"/>
                </a:cubicBezTo>
                <a:cubicBezTo>
                  <a:pt x="1596057" y="1298054"/>
                  <a:pt x="1633785" y="1305719"/>
                  <a:pt x="1677541" y="1305719"/>
                </a:cubicBezTo>
                <a:cubicBezTo>
                  <a:pt x="1723975" y="1305719"/>
                  <a:pt x="1764010" y="1297236"/>
                  <a:pt x="1797645" y="1280269"/>
                </a:cubicBezTo>
                <a:cubicBezTo>
                  <a:pt x="1831280" y="1263303"/>
                  <a:pt x="1857176" y="1237332"/>
                  <a:pt x="1875333" y="1202358"/>
                </a:cubicBezTo>
                <a:cubicBezTo>
                  <a:pt x="1893490" y="1167383"/>
                  <a:pt x="1902569" y="1124000"/>
                  <a:pt x="1902569" y="1072208"/>
                </a:cubicBezTo>
                <a:cubicBezTo>
                  <a:pt x="1902569" y="998984"/>
                  <a:pt x="1884263" y="943397"/>
                  <a:pt x="1847652" y="905446"/>
                </a:cubicBezTo>
                <a:cubicBezTo>
                  <a:pt x="1811040" y="867494"/>
                  <a:pt x="1756718" y="848519"/>
                  <a:pt x="1684685" y="848519"/>
                </a:cubicBezTo>
                <a:close/>
                <a:moveTo>
                  <a:pt x="5051028" y="744042"/>
                </a:moveTo>
                <a:cubicBezTo>
                  <a:pt x="5049540" y="768152"/>
                  <a:pt x="5047382" y="788243"/>
                  <a:pt x="5044554" y="804317"/>
                </a:cubicBezTo>
                <a:cubicBezTo>
                  <a:pt x="5041726" y="820390"/>
                  <a:pt x="5037931" y="833413"/>
                  <a:pt x="5033168" y="843384"/>
                </a:cubicBezTo>
                <a:cubicBezTo>
                  <a:pt x="5028406" y="853356"/>
                  <a:pt x="5021709" y="861318"/>
                  <a:pt x="5013077" y="867271"/>
                </a:cubicBezTo>
                <a:cubicBezTo>
                  <a:pt x="5004445" y="873224"/>
                  <a:pt x="4991050" y="877689"/>
                  <a:pt x="4972893" y="880666"/>
                </a:cubicBezTo>
                <a:lnTo>
                  <a:pt x="4972893" y="911473"/>
                </a:lnTo>
                <a:lnTo>
                  <a:pt x="5028704" y="911473"/>
                </a:lnTo>
                <a:lnTo>
                  <a:pt x="5028704" y="1161058"/>
                </a:lnTo>
                <a:cubicBezTo>
                  <a:pt x="5028704" y="1209576"/>
                  <a:pt x="5039642" y="1245816"/>
                  <a:pt x="5061520" y="1269777"/>
                </a:cubicBezTo>
                <a:cubicBezTo>
                  <a:pt x="5083398" y="1293738"/>
                  <a:pt x="5116512" y="1305719"/>
                  <a:pt x="5160863" y="1305719"/>
                </a:cubicBezTo>
                <a:cubicBezTo>
                  <a:pt x="5184676" y="1305719"/>
                  <a:pt x="5207297" y="1301180"/>
                  <a:pt x="5228729" y="1292101"/>
                </a:cubicBezTo>
                <a:cubicBezTo>
                  <a:pt x="5250160" y="1283023"/>
                  <a:pt x="5273972" y="1267321"/>
                  <a:pt x="5300166" y="1244997"/>
                </a:cubicBezTo>
                <a:lnTo>
                  <a:pt x="5272038" y="1207492"/>
                </a:lnTo>
                <a:cubicBezTo>
                  <a:pt x="5264001" y="1214636"/>
                  <a:pt x="5256336" y="1220143"/>
                  <a:pt x="5249044" y="1224012"/>
                </a:cubicBezTo>
                <a:cubicBezTo>
                  <a:pt x="5241751" y="1227882"/>
                  <a:pt x="5234831" y="1230561"/>
                  <a:pt x="5228282" y="1232049"/>
                </a:cubicBezTo>
                <a:cubicBezTo>
                  <a:pt x="5221734" y="1233537"/>
                  <a:pt x="5214292" y="1234281"/>
                  <a:pt x="5205958" y="1234281"/>
                </a:cubicBezTo>
                <a:cubicBezTo>
                  <a:pt x="5194945" y="1234281"/>
                  <a:pt x="5185717" y="1230486"/>
                  <a:pt x="5178276" y="1222896"/>
                </a:cubicBezTo>
                <a:cubicBezTo>
                  <a:pt x="5170835" y="1215306"/>
                  <a:pt x="5165551" y="1203474"/>
                  <a:pt x="5162426" y="1187400"/>
                </a:cubicBezTo>
                <a:cubicBezTo>
                  <a:pt x="5159300" y="1171327"/>
                  <a:pt x="5157738" y="1146473"/>
                  <a:pt x="5157738" y="1112838"/>
                </a:cubicBezTo>
                <a:lnTo>
                  <a:pt x="5157738" y="911473"/>
                </a:lnTo>
                <a:lnTo>
                  <a:pt x="5284986" y="911473"/>
                </a:lnTo>
                <a:lnTo>
                  <a:pt x="5284986" y="855663"/>
                </a:lnTo>
                <a:lnTo>
                  <a:pt x="5157738" y="855663"/>
                </a:lnTo>
                <a:lnTo>
                  <a:pt x="5157738" y="744042"/>
                </a:lnTo>
                <a:close/>
                <a:moveTo>
                  <a:pt x="1236414" y="681980"/>
                </a:moveTo>
                <a:cubicBezTo>
                  <a:pt x="1177181" y="681980"/>
                  <a:pt x="1126282" y="694928"/>
                  <a:pt x="1083717" y="720824"/>
                </a:cubicBezTo>
                <a:cubicBezTo>
                  <a:pt x="1041152" y="746720"/>
                  <a:pt x="1008930" y="783555"/>
                  <a:pt x="987053" y="831329"/>
                </a:cubicBezTo>
                <a:cubicBezTo>
                  <a:pt x="965175" y="879103"/>
                  <a:pt x="954236" y="935286"/>
                  <a:pt x="954236" y="999877"/>
                </a:cubicBezTo>
                <a:cubicBezTo>
                  <a:pt x="954236" y="1068933"/>
                  <a:pt x="963538" y="1126009"/>
                  <a:pt x="982141" y="1171104"/>
                </a:cubicBezTo>
                <a:cubicBezTo>
                  <a:pt x="1000745" y="1216199"/>
                  <a:pt x="1029618" y="1249908"/>
                  <a:pt x="1068759" y="1272233"/>
                </a:cubicBezTo>
                <a:cubicBezTo>
                  <a:pt x="1107901" y="1294557"/>
                  <a:pt x="1158428" y="1305719"/>
                  <a:pt x="1220341" y="1305719"/>
                </a:cubicBezTo>
                <a:cubicBezTo>
                  <a:pt x="1249511" y="1305719"/>
                  <a:pt x="1277640" y="1303933"/>
                  <a:pt x="1304726" y="1300361"/>
                </a:cubicBezTo>
                <a:cubicBezTo>
                  <a:pt x="1331813" y="1296789"/>
                  <a:pt x="1361727" y="1291134"/>
                  <a:pt x="1394470" y="1283395"/>
                </a:cubicBezTo>
                <a:lnTo>
                  <a:pt x="1394470" y="1148110"/>
                </a:lnTo>
                <a:lnTo>
                  <a:pt x="1333302" y="1148110"/>
                </a:lnTo>
                <a:cubicBezTo>
                  <a:pt x="1327348" y="1174601"/>
                  <a:pt x="1320279" y="1195140"/>
                  <a:pt x="1312093" y="1209725"/>
                </a:cubicBezTo>
                <a:cubicBezTo>
                  <a:pt x="1303908" y="1224310"/>
                  <a:pt x="1292969" y="1235249"/>
                  <a:pt x="1279277" y="1242541"/>
                </a:cubicBezTo>
                <a:cubicBezTo>
                  <a:pt x="1265585" y="1249834"/>
                  <a:pt x="1247874" y="1253480"/>
                  <a:pt x="1226145" y="1253480"/>
                </a:cubicBezTo>
                <a:cubicBezTo>
                  <a:pt x="1183580" y="1253480"/>
                  <a:pt x="1151285" y="1232272"/>
                  <a:pt x="1129258" y="1189856"/>
                </a:cubicBezTo>
                <a:cubicBezTo>
                  <a:pt x="1107231" y="1147440"/>
                  <a:pt x="1096218" y="1085007"/>
                  <a:pt x="1096218" y="1002556"/>
                </a:cubicBezTo>
                <a:cubicBezTo>
                  <a:pt x="1096218" y="913854"/>
                  <a:pt x="1108273" y="846956"/>
                  <a:pt x="1132384" y="801861"/>
                </a:cubicBezTo>
                <a:cubicBezTo>
                  <a:pt x="1156494" y="756766"/>
                  <a:pt x="1192064" y="734219"/>
                  <a:pt x="1239093" y="734219"/>
                </a:cubicBezTo>
                <a:cubicBezTo>
                  <a:pt x="1264096" y="734219"/>
                  <a:pt x="1284337" y="742181"/>
                  <a:pt x="1299815" y="758106"/>
                </a:cubicBezTo>
                <a:cubicBezTo>
                  <a:pt x="1315293" y="774030"/>
                  <a:pt x="1326604" y="798810"/>
                  <a:pt x="1333748" y="832445"/>
                </a:cubicBezTo>
                <a:lnTo>
                  <a:pt x="1394470" y="832445"/>
                </a:lnTo>
                <a:lnTo>
                  <a:pt x="1394470" y="702965"/>
                </a:lnTo>
                <a:cubicBezTo>
                  <a:pt x="1367978" y="695524"/>
                  <a:pt x="1342529" y="690166"/>
                  <a:pt x="1318121" y="686891"/>
                </a:cubicBezTo>
                <a:cubicBezTo>
                  <a:pt x="1293713" y="683617"/>
                  <a:pt x="1266478" y="681980"/>
                  <a:pt x="1236414" y="681980"/>
                </a:cubicBezTo>
                <a:close/>
                <a:moveTo>
                  <a:pt x="5375027" y="677515"/>
                </a:moveTo>
                <a:lnTo>
                  <a:pt x="5375027" y="786904"/>
                </a:lnTo>
                <a:lnTo>
                  <a:pt x="5497363" y="786904"/>
                </a:lnTo>
                <a:lnTo>
                  <a:pt x="5497363" y="677515"/>
                </a:lnTo>
                <a:close/>
                <a:moveTo>
                  <a:pt x="3148856" y="659209"/>
                </a:moveTo>
                <a:lnTo>
                  <a:pt x="3024286" y="665460"/>
                </a:lnTo>
                <a:lnTo>
                  <a:pt x="3024286" y="694928"/>
                </a:lnTo>
                <a:cubicBezTo>
                  <a:pt x="3036788" y="697607"/>
                  <a:pt x="3045792" y="700435"/>
                  <a:pt x="3051299" y="703411"/>
                </a:cubicBezTo>
                <a:cubicBezTo>
                  <a:pt x="3056805" y="706388"/>
                  <a:pt x="3061196" y="710258"/>
                  <a:pt x="3064470" y="715020"/>
                </a:cubicBezTo>
                <a:cubicBezTo>
                  <a:pt x="3067744" y="719783"/>
                  <a:pt x="3070125" y="726331"/>
                  <a:pt x="3071614" y="734665"/>
                </a:cubicBezTo>
                <a:cubicBezTo>
                  <a:pt x="3073102" y="743000"/>
                  <a:pt x="3073995" y="752822"/>
                  <a:pt x="3074293" y="764133"/>
                </a:cubicBezTo>
                <a:cubicBezTo>
                  <a:pt x="3074590" y="775444"/>
                  <a:pt x="3074739" y="791815"/>
                  <a:pt x="3074739" y="813247"/>
                </a:cubicBezTo>
                <a:lnTo>
                  <a:pt x="3074739" y="1297682"/>
                </a:lnTo>
                <a:lnTo>
                  <a:pt x="3131889" y="1305719"/>
                </a:lnTo>
                <a:lnTo>
                  <a:pt x="3164929" y="1280269"/>
                </a:lnTo>
                <a:cubicBezTo>
                  <a:pt x="3203922" y="1297236"/>
                  <a:pt x="3246933" y="1305719"/>
                  <a:pt x="3293963" y="1305719"/>
                </a:cubicBezTo>
                <a:cubicBezTo>
                  <a:pt x="3339207" y="1305719"/>
                  <a:pt x="3377307" y="1297012"/>
                  <a:pt x="3408263" y="1279600"/>
                </a:cubicBezTo>
                <a:cubicBezTo>
                  <a:pt x="3439219" y="1262187"/>
                  <a:pt x="3462511" y="1236142"/>
                  <a:pt x="3478138" y="1201465"/>
                </a:cubicBezTo>
                <a:cubicBezTo>
                  <a:pt x="3493765" y="1166788"/>
                  <a:pt x="3501578" y="1123702"/>
                  <a:pt x="3501578" y="1072208"/>
                </a:cubicBezTo>
                <a:cubicBezTo>
                  <a:pt x="3501578" y="997793"/>
                  <a:pt x="3488333" y="941908"/>
                  <a:pt x="3461841" y="904553"/>
                </a:cubicBezTo>
                <a:cubicBezTo>
                  <a:pt x="3435350" y="867197"/>
                  <a:pt x="3395613" y="848519"/>
                  <a:pt x="3342630" y="848519"/>
                </a:cubicBezTo>
                <a:cubicBezTo>
                  <a:pt x="3325366" y="848519"/>
                  <a:pt x="3309143" y="851123"/>
                  <a:pt x="3293963" y="856332"/>
                </a:cubicBezTo>
                <a:cubicBezTo>
                  <a:pt x="3278783" y="861541"/>
                  <a:pt x="3264495" y="868611"/>
                  <a:pt x="3251101" y="877540"/>
                </a:cubicBezTo>
                <a:cubicBezTo>
                  <a:pt x="3237706" y="886470"/>
                  <a:pt x="3222079" y="899120"/>
                  <a:pt x="3204220" y="915491"/>
                </a:cubicBezTo>
                <a:lnTo>
                  <a:pt x="3203773" y="915045"/>
                </a:lnTo>
                <a:lnTo>
                  <a:pt x="3203773" y="659209"/>
                </a:lnTo>
                <a:close/>
                <a:moveTo>
                  <a:pt x="2381796" y="659209"/>
                </a:moveTo>
                <a:lnTo>
                  <a:pt x="2258119" y="665460"/>
                </a:lnTo>
                <a:lnTo>
                  <a:pt x="2258119" y="694928"/>
                </a:lnTo>
                <a:cubicBezTo>
                  <a:pt x="2270621" y="697310"/>
                  <a:pt x="2279700" y="699988"/>
                  <a:pt x="2285355" y="702965"/>
                </a:cubicBezTo>
                <a:cubicBezTo>
                  <a:pt x="2291010" y="705941"/>
                  <a:pt x="2295401" y="709885"/>
                  <a:pt x="2298526" y="714797"/>
                </a:cubicBezTo>
                <a:cubicBezTo>
                  <a:pt x="2301652" y="719708"/>
                  <a:pt x="2303884" y="726257"/>
                  <a:pt x="2305224" y="734442"/>
                </a:cubicBezTo>
                <a:cubicBezTo>
                  <a:pt x="2306563" y="742628"/>
                  <a:pt x="2307456" y="752748"/>
                  <a:pt x="2307902" y="764803"/>
                </a:cubicBezTo>
                <a:cubicBezTo>
                  <a:pt x="2308349" y="776858"/>
                  <a:pt x="2308572" y="795685"/>
                  <a:pt x="2308572" y="821283"/>
                </a:cubicBezTo>
                <a:lnTo>
                  <a:pt x="2308572" y="1169541"/>
                </a:lnTo>
                <a:cubicBezTo>
                  <a:pt x="2308572" y="1188591"/>
                  <a:pt x="2308274" y="1203251"/>
                  <a:pt x="2307679" y="1213520"/>
                </a:cubicBezTo>
                <a:cubicBezTo>
                  <a:pt x="2307084" y="1223789"/>
                  <a:pt x="2305744" y="1231826"/>
                  <a:pt x="2303661" y="1237630"/>
                </a:cubicBezTo>
                <a:cubicBezTo>
                  <a:pt x="2301577" y="1243434"/>
                  <a:pt x="2299122" y="1248197"/>
                  <a:pt x="2296294" y="1251917"/>
                </a:cubicBezTo>
                <a:cubicBezTo>
                  <a:pt x="2293466" y="1255638"/>
                  <a:pt x="2289522" y="1258912"/>
                  <a:pt x="2284462" y="1261740"/>
                </a:cubicBezTo>
                <a:cubicBezTo>
                  <a:pt x="2279402" y="1264568"/>
                  <a:pt x="2272407" y="1267024"/>
                  <a:pt x="2263477" y="1269107"/>
                </a:cubicBezTo>
                <a:lnTo>
                  <a:pt x="2263477" y="1298575"/>
                </a:lnTo>
                <a:lnTo>
                  <a:pt x="2482254" y="1298575"/>
                </a:lnTo>
                <a:lnTo>
                  <a:pt x="2482254" y="1269107"/>
                </a:lnTo>
                <a:cubicBezTo>
                  <a:pt x="2467074" y="1265238"/>
                  <a:pt x="2456730" y="1260103"/>
                  <a:pt x="2451224" y="1253703"/>
                </a:cubicBezTo>
                <a:cubicBezTo>
                  <a:pt x="2445717" y="1247304"/>
                  <a:pt x="2442071" y="1238746"/>
                  <a:pt x="2440285" y="1228031"/>
                </a:cubicBezTo>
                <a:cubicBezTo>
                  <a:pt x="2438499" y="1217315"/>
                  <a:pt x="2437606" y="1197818"/>
                  <a:pt x="2437606" y="1169541"/>
                </a:cubicBezTo>
                <a:lnTo>
                  <a:pt x="2437606" y="659209"/>
                </a:lnTo>
                <a:close/>
                <a:moveTo>
                  <a:pt x="2096046" y="659209"/>
                </a:moveTo>
                <a:lnTo>
                  <a:pt x="1972370" y="665460"/>
                </a:lnTo>
                <a:lnTo>
                  <a:pt x="1972370" y="694928"/>
                </a:lnTo>
                <a:cubicBezTo>
                  <a:pt x="1984871" y="697310"/>
                  <a:pt x="1993950" y="699988"/>
                  <a:pt x="1999605" y="702965"/>
                </a:cubicBezTo>
                <a:cubicBezTo>
                  <a:pt x="2005260" y="705941"/>
                  <a:pt x="2009651" y="709885"/>
                  <a:pt x="2012776" y="714797"/>
                </a:cubicBezTo>
                <a:cubicBezTo>
                  <a:pt x="2015902" y="719708"/>
                  <a:pt x="2018134" y="726257"/>
                  <a:pt x="2019473" y="734442"/>
                </a:cubicBezTo>
                <a:cubicBezTo>
                  <a:pt x="2020813" y="742628"/>
                  <a:pt x="2021706" y="752748"/>
                  <a:pt x="2022152" y="764803"/>
                </a:cubicBezTo>
                <a:cubicBezTo>
                  <a:pt x="2022599" y="776858"/>
                  <a:pt x="2022822" y="795685"/>
                  <a:pt x="2022822" y="821283"/>
                </a:cubicBezTo>
                <a:lnTo>
                  <a:pt x="2022822" y="1169541"/>
                </a:lnTo>
                <a:cubicBezTo>
                  <a:pt x="2022822" y="1188591"/>
                  <a:pt x="2022524" y="1203251"/>
                  <a:pt x="2021929" y="1213520"/>
                </a:cubicBezTo>
                <a:cubicBezTo>
                  <a:pt x="2021334" y="1223789"/>
                  <a:pt x="2019994" y="1231826"/>
                  <a:pt x="2017911" y="1237630"/>
                </a:cubicBezTo>
                <a:cubicBezTo>
                  <a:pt x="2015827" y="1243434"/>
                  <a:pt x="2013372" y="1248197"/>
                  <a:pt x="2010544" y="1251917"/>
                </a:cubicBezTo>
                <a:cubicBezTo>
                  <a:pt x="2007716" y="1255638"/>
                  <a:pt x="2003772" y="1258912"/>
                  <a:pt x="1998712" y="1261740"/>
                </a:cubicBezTo>
                <a:cubicBezTo>
                  <a:pt x="1993652" y="1264568"/>
                  <a:pt x="1986657" y="1267024"/>
                  <a:pt x="1977727" y="1269107"/>
                </a:cubicBezTo>
                <a:lnTo>
                  <a:pt x="1977727" y="1298575"/>
                </a:lnTo>
                <a:lnTo>
                  <a:pt x="2196504" y="1298575"/>
                </a:lnTo>
                <a:lnTo>
                  <a:pt x="2196504" y="1269107"/>
                </a:lnTo>
                <a:cubicBezTo>
                  <a:pt x="2181324" y="1265238"/>
                  <a:pt x="2170980" y="1260103"/>
                  <a:pt x="2165474" y="1253703"/>
                </a:cubicBezTo>
                <a:cubicBezTo>
                  <a:pt x="2159967" y="1247304"/>
                  <a:pt x="2156321" y="1238746"/>
                  <a:pt x="2154535" y="1228031"/>
                </a:cubicBezTo>
                <a:cubicBezTo>
                  <a:pt x="2152749" y="1217315"/>
                  <a:pt x="2151856" y="1197818"/>
                  <a:pt x="2151856" y="1169541"/>
                </a:cubicBezTo>
                <a:lnTo>
                  <a:pt x="2151856" y="659209"/>
                </a:lnTo>
                <a:close/>
                <a:moveTo>
                  <a:pt x="0" y="0"/>
                </a:moveTo>
                <a:lnTo>
                  <a:pt x="7244952" y="0"/>
                </a:lnTo>
                <a:lnTo>
                  <a:pt x="7244952" y="8181528"/>
                </a:lnTo>
                <a:lnTo>
                  <a:pt x="0" y="818152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7200" b="1" dirty="0">
              <a:latin typeface="+mj-lt"/>
            </a:endParaRPr>
          </a:p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7200" b="1" dirty="0">
              <a:latin typeface="+mj-lt"/>
            </a:endParaRPr>
          </a:p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7200" b="1" dirty="0">
              <a:latin typeface="+mj-lt"/>
            </a:endParaRPr>
          </a:p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7200" b="1" dirty="0">
              <a:latin typeface="+mj-lt"/>
            </a:endParaRPr>
          </a:p>
        </p:txBody>
      </p:sp>
      <p:pic>
        <p:nvPicPr>
          <p:cNvPr id="110" name="Billede 109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41367" y="5350400"/>
            <a:ext cx="2592288" cy="1834110"/>
          </a:xfrm>
          <a:prstGeom prst="rect">
            <a:avLst/>
          </a:prstGeom>
        </p:spPr>
      </p:pic>
      <p:sp>
        <p:nvSpPr>
          <p:cNvPr id="2" name="Rektangel 1"/>
          <p:cNvSpPr/>
          <p:nvPr/>
        </p:nvSpPr>
        <p:spPr bwMode="auto">
          <a:xfrm>
            <a:off x="-141779" y="-93170"/>
            <a:ext cx="7749008" cy="112474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12" name="Gruppe 11"/>
          <p:cNvGrpSpPr/>
          <p:nvPr/>
        </p:nvGrpSpPr>
        <p:grpSpPr>
          <a:xfrm>
            <a:off x="685775" y="5913438"/>
            <a:ext cx="2601913" cy="763587"/>
            <a:chOff x="6946664" y="5944672"/>
            <a:chExt cx="2352387" cy="732353"/>
          </a:xfrm>
        </p:grpSpPr>
        <p:sp>
          <p:nvSpPr>
            <p:cNvPr id="4" name="Rektangel 3"/>
            <p:cNvSpPr/>
            <p:nvPr/>
          </p:nvSpPr>
          <p:spPr bwMode="auto">
            <a:xfrm>
              <a:off x="7176120" y="6165305"/>
              <a:ext cx="360040" cy="432048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pic>
          <p:nvPicPr>
            <p:cNvPr id="11" name="Picture 26" descr="Ministry of the Interior and Kingdom Relations (BZK) Logo">
              <a:extLst>
                <a:ext uri="{FF2B5EF4-FFF2-40B4-BE49-F238E27FC236}">
                  <a16:creationId xmlns:a16="http://schemas.microsoft.com/office/drawing/2014/main" id="{DE10515C-81D9-458D-B107-FFE5E4AC99F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027" r="69222"/>
            <a:stretch/>
          </p:blipFill>
          <p:spPr bwMode="auto">
            <a:xfrm>
              <a:off x="6946664" y="5944672"/>
              <a:ext cx="689320" cy="732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kstfelt 5"/>
            <p:cNvSpPr txBox="1"/>
            <p:nvPr/>
          </p:nvSpPr>
          <p:spPr>
            <a:xfrm>
              <a:off x="7641928" y="6274188"/>
              <a:ext cx="1657123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100"/>
                </a:spcBef>
              </a:pPr>
              <a:r>
                <a:rPr lang="da-DK" sz="1050" dirty="0" err="1">
                  <a:solidFill>
                    <a:schemeClr val="bg1"/>
                  </a:solidFill>
                  <a:latin typeface="+mj-lt"/>
                </a:rPr>
                <a:t>Ministry</a:t>
              </a:r>
              <a:r>
                <a:rPr lang="da-DK" sz="1050" dirty="0">
                  <a:solidFill>
                    <a:schemeClr val="bg1"/>
                  </a:solidFill>
                  <a:latin typeface="+mj-lt"/>
                </a:rPr>
                <a:t> of the </a:t>
              </a:r>
              <a:r>
                <a:rPr lang="da-DK" sz="1050" dirty="0" err="1">
                  <a:solidFill>
                    <a:schemeClr val="bg1"/>
                  </a:solidFill>
                  <a:latin typeface="+mj-lt"/>
                </a:rPr>
                <a:t>Interior</a:t>
              </a:r>
              <a:r>
                <a:rPr lang="da-DK" sz="1050" dirty="0">
                  <a:solidFill>
                    <a:schemeClr val="bg1"/>
                  </a:solidFill>
                  <a:latin typeface="+mj-lt"/>
                </a:rPr>
                <a:t> and Kingdom Rel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70899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611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Placeholder 8"/>
          <p:cNvPicPr>
            <a:picLocks noGrp="1" noChangeAspect="1"/>
          </p:cNvPicPr>
          <p:nvPr>
            <p:ph type="pic" sz="quarter" idx="10"/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5" r="8085"/>
          <a:stretch/>
        </p:blipFill>
        <p:spPr>
          <a:xfrm>
            <a:off x="-326716" y="-57637"/>
            <a:ext cx="12665211" cy="6957392"/>
          </a:xfrm>
        </p:spPr>
      </p:pic>
      <p:sp>
        <p:nvSpPr>
          <p:cNvPr id="4" name="Pladsholder til slidenummer 3"/>
          <p:cNvSpPr>
            <a:spLocks noGrp="1"/>
          </p:cNvSpPr>
          <p:nvPr>
            <p:ph type="sldNum" sz="quarter" idx="4294967295"/>
          </p:nvPr>
        </p:nvSpPr>
        <p:spPr>
          <a:xfrm>
            <a:off x="0" y="6911975"/>
            <a:ext cx="0" cy="0"/>
          </a:xfrm>
        </p:spPr>
        <p:txBody>
          <a:bodyPr/>
          <a:lstStyle/>
          <a:p>
            <a:fld id="{80AE25ED-097C-4BDC-A7CE-FA97BD9CA3B5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3" name="Rektangel 2"/>
          <p:cNvSpPr/>
          <p:nvPr/>
        </p:nvSpPr>
        <p:spPr bwMode="auto">
          <a:xfrm>
            <a:off x="6733192" y="6181684"/>
            <a:ext cx="292098" cy="439713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4" name="Tekstfelt 43"/>
          <p:cNvSpPr txBox="1"/>
          <p:nvPr/>
        </p:nvSpPr>
        <p:spPr>
          <a:xfrm>
            <a:off x="-885606" y="-173012"/>
            <a:ext cx="6981606" cy="7207199"/>
          </a:xfrm>
          <a:custGeom>
            <a:avLst/>
            <a:gdLst>
              <a:gd name="connsiteX0" fmla="*/ 5760256 w 7097196"/>
              <a:gd name="connsiteY0" fmla="*/ 1080611 h 7207199"/>
              <a:gd name="connsiteX1" fmla="*/ 5827687 w 7097196"/>
              <a:gd name="connsiteY1" fmla="*/ 1128385 h 7207199"/>
              <a:gd name="connsiteX2" fmla="*/ 5849334 w 7097196"/>
              <a:gd name="connsiteY2" fmla="*/ 1275190 h 7207199"/>
              <a:gd name="connsiteX3" fmla="*/ 5825198 w 7097196"/>
              <a:gd name="connsiteY3" fmla="*/ 1412291 h 7207199"/>
              <a:gd name="connsiteX4" fmla="*/ 5755279 w 7097196"/>
              <a:gd name="connsiteY4" fmla="*/ 1460313 h 7207199"/>
              <a:gd name="connsiteX5" fmla="*/ 5689839 w 7097196"/>
              <a:gd name="connsiteY5" fmla="*/ 1431201 h 7207199"/>
              <a:gd name="connsiteX6" fmla="*/ 5668689 w 7097196"/>
              <a:gd name="connsiteY6" fmla="*/ 1340879 h 7207199"/>
              <a:gd name="connsiteX7" fmla="*/ 5668689 w 7097196"/>
              <a:gd name="connsiteY7" fmla="*/ 1172177 h 7207199"/>
              <a:gd name="connsiteX8" fmla="*/ 5682126 w 7097196"/>
              <a:gd name="connsiteY8" fmla="*/ 1124652 h 7207199"/>
              <a:gd name="connsiteX9" fmla="*/ 5716712 w 7097196"/>
              <a:gd name="connsiteY9" fmla="*/ 1092057 h 7207199"/>
              <a:gd name="connsiteX10" fmla="*/ 5760256 w 7097196"/>
              <a:gd name="connsiteY10" fmla="*/ 1080611 h 7207199"/>
              <a:gd name="connsiteX11" fmla="*/ 2701516 w 7097196"/>
              <a:gd name="connsiteY11" fmla="*/ 1054236 h 7207199"/>
              <a:gd name="connsiteX12" fmla="*/ 2759243 w 7097196"/>
              <a:gd name="connsiteY12" fmla="*/ 1091559 h 7207199"/>
              <a:gd name="connsiteX13" fmla="*/ 2779149 w 7097196"/>
              <a:gd name="connsiteY13" fmla="*/ 1205022 h 7207199"/>
              <a:gd name="connsiteX14" fmla="*/ 2613433 w 7097196"/>
              <a:gd name="connsiteY14" fmla="*/ 1205022 h 7207199"/>
              <a:gd name="connsiteX15" fmla="*/ 2640555 w 7097196"/>
              <a:gd name="connsiteY15" fmla="*/ 1093052 h 7207199"/>
              <a:gd name="connsiteX16" fmla="*/ 2701516 w 7097196"/>
              <a:gd name="connsiteY16" fmla="*/ 1054236 h 7207199"/>
              <a:gd name="connsiteX17" fmla="*/ 5178017 w 7097196"/>
              <a:gd name="connsiteY17" fmla="*/ 1054236 h 7207199"/>
              <a:gd name="connsiteX18" fmla="*/ 5235744 w 7097196"/>
              <a:gd name="connsiteY18" fmla="*/ 1091559 h 7207199"/>
              <a:gd name="connsiteX19" fmla="*/ 5255649 w 7097196"/>
              <a:gd name="connsiteY19" fmla="*/ 1205022 h 7207199"/>
              <a:gd name="connsiteX20" fmla="*/ 5089934 w 7097196"/>
              <a:gd name="connsiteY20" fmla="*/ 1205022 h 7207199"/>
              <a:gd name="connsiteX21" fmla="*/ 5117056 w 7097196"/>
              <a:gd name="connsiteY21" fmla="*/ 1093052 h 7207199"/>
              <a:gd name="connsiteX22" fmla="*/ 5178017 w 7097196"/>
              <a:gd name="connsiteY22" fmla="*/ 1054236 h 7207199"/>
              <a:gd name="connsiteX23" fmla="*/ 2960644 w 7097196"/>
              <a:gd name="connsiteY23" fmla="*/ 1010443 h 7207199"/>
              <a:gd name="connsiteX24" fmla="*/ 2960644 w 7097196"/>
              <a:gd name="connsiteY24" fmla="*/ 1043288 h 7207199"/>
              <a:gd name="connsiteX25" fmla="*/ 2971841 w 7097196"/>
              <a:gd name="connsiteY25" fmla="*/ 1046025 h 7207199"/>
              <a:gd name="connsiteX26" fmla="*/ 2984283 w 7097196"/>
              <a:gd name="connsiteY26" fmla="*/ 1053489 h 7207199"/>
              <a:gd name="connsiteX27" fmla="*/ 2999461 w 7097196"/>
              <a:gd name="connsiteY27" fmla="*/ 1067921 h 7207199"/>
              <a:gd name="connsiteX28" fmla="*/ 3015883 w 7097196"/>
              <a:gd name="connsiteY28" fmla="*/ 1087329 h 7207199"/>
              <a:gd name="connsiteX29" fmla="*/ 3034793 w 7097196"/>
              <a:gd name="connsiteY29" fmla="*/ 1113455 h 7207199"/>
              <a:gd name="connsiteX30" fmla="*/ 3151741 w 7097196"/>
              <a:gd name="connsiteY30" fmla="*/ 1278673 h 7207199"/>
              <a:gd name="connsiteX31" fmla="*/ 3047733 w 7097196"/>
              <a:gd name="connsiteY31" fmla="*/ 1396615 h 7207199"/>
              <a:gd name="connsiteX32" fmla="*/ 2995231 w 7097196"/>
              <a:gd name="connsiteY32" fmla="*/ 1449365 h 7207199"/>
              <a:gd name="connsiteX33" fmla="*/ 2952184 w 7097196"/>
              <a:gd name="connsiteY33" fmla="*/ 1471262 h 7207199"/>
              <a:gd name="connsiteX34" fmla="*/ 2952184 w 7097196"/>
              <a:gd name="connsiteY34" fmla="*/ 1504106 h 7207199"/>
              <a:gd name="connsiteX35" fmla="*/ 3143777 w 7097196"/>
              <a:gd name="connsiteY35" fmla="*/ 1504106 h 7207199"/>
              <a:gd name="connsiteX36" fmla="*/ 3143777 w 7097196"/>
              <a:gd name="connsiteY36" fmla="*/ 1471262 h 7207199"/>
              <a:gd name="connsiteX37" fmla="*/ 3115413 w 7097196"/>
              <a:gd name="connsiteY37" fmla="*/ 1460811 h 7207199"/>
              <a:gd name="connsiteX38" fmla="*/ 3106454 w 7097196"/>
              <a:gd name="connsiteY38" fmla="*/ 1440408 h 7207199"/>
              <a:gd name="connsiteX39" fmla="*/ 3110684 w 7097196"/>
              <a:gd name="connsiteY39" fmla="*/ 1419009 h 7207199"/>
              <a:gd name="connsiteX40" fmla="*/ 3131834 w 7097196"/>
              <a:gd name="connsiteY40" fmla="*/ 1389150 h 7207199"/>
              <a:gd name="connsiteX41" fmla="*/ 3184087 w 7097196"/>
              <a:gd name="connsiteY41" fmla="*/ 1324954 h 7207199"/>
              <a:gd name="connsiteX42" fmla="*/ 3240321 w 7097196"/>
              <a:gd name="connsiteY42" fmla="*/ 1405573 h 7207199"/>
              <a:gd name="connsiteX43" fmla="*/ 3252264 w 7097196"/>
              <a:gd name="connsiteY43" fmla="*/ 1423737 h 7207199"/>
              <a:gd name="connsiteX44" fmla="*/ 3256743 w 7097196"/>
              <a:gd name="connsiteY44" fmla="*/ 1434187 h 7207199"/>
              <a:gd name="connsiteX45" fmla="*/ 3258236 w 7097196"/>
              <a:gd name="connsiteY45" fmla="*/ 1445384 h 7207199"/>
              <a:gd name="connsiteX46" fmla="*/ 3227382 w 7097196"/>
              <a:gd name="connsiteY46" fmla="*/ 1471262 h 7207199"/>
              <a:gd name="connsiteX47" fmla="*/ 3227382 w 7097196"/>
              <a:gd name="connsiteY47" fmla="*/ 1504106 h 7207199"/>
              <a:gd name="connsiteX48" fmla="*/ 3469735 w 7097196"/>
              <a:gd name="connsiteY48" fmla="*/ 1504106 h 7207199"/>
              <a:gd name="connsiteX49" fmla="*/ 3469735 w 7097196"/>
              <a:gd name="connsiteY49" fmla="*/ 1471262 h 7207199"/>
              <a:gd name="connsiteX50" fmla="*/ 3443110 w 7097196"/>
              <a:gd name="connsiteY50" fmla="*/ 1458820 h 7207199"/>
              <a:gd name="connsiteX51" fmla="*/ 3418229 w 7097196"/>
              <a:gd name="connsiteY51" fmla="*/ 1435182 h 7207199"/>
              <a:gd name="connsiteX52" fmla="*/ 3389117 w 7097196"/>
              <a:gd name="connsiteY52" fmla="*/ 1396615 h 7207199"/>
              <a:gd name="connsiteX53" fmla="*/ 3272667 w 7097196"/>
              <a:gd name="connsiteY53" fmla="*/ 1231397 h 7207199"/>
              <a:gd name="connsiteX54" fmla="*/ 3368215 w 7097196"/>
              <a:gd name="connsiteY54" fmla="*/ 1123408 h 7207199"/>
              <a:gd name="connsiteX55" fmla="*/ 3422956 w 7097196"/>
              <a:gd name="connsiteY55" fmla="*/ 1064438 h 7207199"/>
              <a:gd name="connsiteX56" fmla="*/ 3464260 w 7097196"/>
              <a:gd name="connsiteY56" fmla="*/ 1043288 h 7207199"/>
              <a:gd name="connsiteX57" fmla="*/ 3464260 w 7097196"/>
              <a:gd name="connsiteY57" fmla="*/ 1010443 h 7207199"/>
              <a:gd name="connsiteX58" fmla="*/ 3274659 w 7097196"/>
              <a:gd name="connsiteY58" fmla="*/ 1010443 h 7207199"/>
              <a:gd name="connsiteX59" fmla="*/ 3274659 w 7097196"/>
              <a:gd name="connsiteY59" fmla="*/ 1043288 h 7207199"/>
              <a:gd name="connsiteX60" fmla="*/ 3302278 w 7097196"/>
              <a:gd name="connsiteY60" fmla="*/ 1052992 h 7207199"/>
              <a:gd name="connsiteX61" fmla="*/ 3312479 w 7097196"/>
              <a:gd name="connsiteY61" fmla="*/ 1075635 h 7207199"/>
              <a:gd name="connsiteX62" fmla="*/ 3307752 w 7097196"/>
              <a:gd name="connsiteY62" fmla="*/ 1096784 h 7207199"/>
              <a:gd name="connsiteX63" fmla="*/ 3291080 w 7097196"/>
              <a:gd name="connsiteY63" fmla="*/ 1121915 h 7207199"/>
              <a:gd name="connsiteX64" fmla="*/ 3240321 w 7097196"/>
              <a:gd name="connsiteY64" fmla="*/ 1185116 h 7207199"/>
              <a:gd name="connsiteX65" fmla="*/ 3189063 w 7097196"/>
              <a:gd name="connsiteY65" fmla="*/ 1111963 h 7207199"/>
              <a:gd name="connsiteX66" fmla="*/ 3174631 w 7097196"/>
              <a:gd name="connsiteY66" fmla="*/ 1088822 h 7207199"/>
              <a:gd name="connsiteX67" fmla="*/ 3170153 w 7097196"/>
              <a:gd name="connsiteY67" fmla="*/ 1071156 h 7207199"/>
              <a:gd name="connsiteX68" fmla="*/ 3201505 w 7097196"/>
              <a:gd name="connsiteY68" fmla="*/ 1043288 h 7207199"/>
              <a:gd name="connsiteX69" fmla="*/ 3201505 w 7097196"/>
              <a:gd name="connsiteY69" fmla="*/ 1010443 h 7207199"/>
              <a:gd name="connsiteX70" fmla="*/ 5823456 w 7097196"/>
              <a:gd name="connsiteY70" fmla="*/ 1002481 h 7207199"/>
              <a:gd name="connsiteX71" fmla="*/ 5747067 w 7097196"/>
              <a:gd name="connsiteY71" fmla="*/ 1020645 h 7207199"/>
              <a:gd name="connsiteX72" fmla="*/ 5667195 w 7097196"/>
              <a:gd name="connsiteY72" fmla="*/ 1080113 h 7207199"/>
              <a:gd name="connsiteX73" fmla="*/ 5661224 w 7097196"/>
              <a:gd name="connsiteY73" fmla="*/ 1078620 h 7207199"/>
              <a:gd name="connsiteX74" fmla="*/ 5668688 w 7097196"/>
              <a:gd name="connsiteY74" fmla="*/ 1006462 h 7207199"/>
              <a:gd name="connsiteX75" fmla="*/ 5607478 w 7097196"/>
              <a:gd name="connsiteY75" fmla="*/ 1006462 h 7207199"/>
              <a:gd name="connsiteX76" fmla="*/ 5469631 w 7097196"/>
              <a:gd name="connsiteY76" fmla="*/ 1010443 h 7207199"/>
              <a:gd name="connsiteX77" fmla="*/ 5469631 w 7097196"/>
              <a:gd name="connsiteY77" fmla="*/ 1044283 h 7207199"/>
              <a:gd name="connsiteX78" fmla="*/ 5498245 w 7097196"/>
              <a:gd name="connsiteY78" fmla="*/ 1053241 h 7207199"/>
              <a:gd name="connsiteX79" fmla="*/ 5512926 w 7097196"/>
              <a:gd name="connsiteY79" fmla="*/ 1064935 h 7207199"/>
              <a:gd name="connsiteX80" fmla="*/ 5520639 w 7097196"/>
              <a:gd name="connsiteY80" fmla="*/ 1082104 h 7207199"/>
              <a:gd name="connsiteX81" fmla="*/ 5524123 w 7097196"/>
              <a:gd name="connsiteY81" fmla="*/ 1107484 h 7207199"/>
              <a:gd name="connsiteX82" fmla="*/ 5524869 w 7097196"/>
              <a:gd name="connsiteY82" fmla="*/ 1157746 h 7207199"/>
              <a:gd name="connsiteX83" fmla="*/ 5524869 w 7097196"/>
              <a:gd name="connsiteY83" fmla="*/ 1593184 h 7207199"/>
              <a:gd name="connsiteX84" fmla="*/ 5520888 w 7097196"/>
              <a:gd name="connsiteY84" fmla="*/ 1646183 h 7207199"/>
              <a:gd name="connsiteX85" fmla="*/ 5507701 w 7097196"/>
              <a:gd name="connsiteY85" fmla="*/ 1669822 h 7207199"/>
              <a:gd name="connsiteX86" fmla="*/ 5475105 w 7097196"/>
              <a:gd name="connsiteY86" fmla="*/ 1685248 h 7207199"/>
              <a:gd name="connsiteX87" fmla="*/ 5475105 w 7097196"/>
              <a:gd name="connsiteY87" fmla="*/ 1718093 h 7207199"/>
              <a:gd name="connsiteX88" fmla="*/ 5722932 w 7097196"/>
              <a:gd name="connsiteY88" fmla="*/ 1718093 h 7207199"/>
              <a:gd name="connsiteX89" fmla="*/ 5722932 w 7097196"/>
              <a:gd name="connsiteY89" fmla="*/ 1685248 h 7207199"/>
              <a:gd name="connsiteX90" fmla="*/ 5686852 w 7097196"/>
              <a:gd name="connsiteY90" fmla="*/ 1670319 h 7207199"/>
              <a:gd name="connsiteX91" fmla="*/ 5672670 w 7097196"/>
              <a:gd name="connsiteY91" fmla="*/ 1645935 h 7207199"/>
              <a:gd name="connsiteX92" fmla="*/ 5668688 w 7097196"/>
              <a:gd name="connsiteY92" fmla="*/ 1593184 h 7207199"/>
              <a:gd name="connsiteX93" fmla="*/ 5668688 w 7097196"/>
              <a:gd name="connsiteY93" fmla="*/ 1499130 h 7207199"/>
              <a:gd name="connsiteX94" fmla="*/ 5769212 w 7097196"/>
              <a:gd name="connsiteY94" fmla="*/ 1512068 h 7207199"/>
              <a:gd name="connsiteX95" fmla="*/ 5896609 w 7097196"/>
              <a:gd name="connsiteY95" fmla="*/ 1482956 h 7207199"/>
              <a:gd name="connsiteX96" fmla="*/ 5974491 w 7097196"/>
              <a:gd name="connsiteY96" fmla="*/ 1395869 h 7207199"/>
              <a:gd name="connsiteX97" fmla="*/ 6000617 w 7097196"/>
              <a:gd name="connsiteY97" fmla="*/ 1251801 h 7207199"/>
              <a:gd name="connsiteX98" fmla="*/ 5956327 w 7097196"/>
              <a:gd name="connsiteY98" fmla="*/ 1064935 h 7207199"/>
              <a:gd name="connsiteX99" fmla="*/ 5823456 w 7097196"/>
              <a:gd name="connsiteY99" fmla="*/ 1002481 h 7207199"/>
              <a:gd name="connsiteX100" fmla="*/ 5185978 w 7097196"/>
              <a:gd name="connsiteY100" fmla="*/ 1002481 h 7207199"/>
              <a:gd name="connsiteX101" fmla="*/ 5057586 w 7097196"/>
              <a:gd name="connsiteY101" fmla="*/ 1032588 h 7207199"/>
              <a:gd name="connsiteX102" fmla="*/ 4972240 w 7097196"/>
              <a:gd name="connsiteY102" fmla="*/ 1121169 h 7207199"/>
              <a:gd name="connsiteX103" fmla="*/ 4942133 w 7097196"/>
              <a:gd name="connsiteY103" fmla="*/ 1260260 h 7207199"/>
              <a:gd name="connsiteX104" fmla="*/ 5000606 w 7097196"/>
              <a:gd name="connsiteY104" fmla="*/ 1448619 h 7207199"/>
              <a:gd name="connsiteX105" fmla="*/ 5175030 w 7097196"/>
              <a:gd name="connsiteY105" fmla="*/ 1512068 h 7207199"/>
              <a:gd name="connsiteX106" fmla="*/ 5289488 w 7097196"/>
              <a:gd name="connsiteY106" fmla="*/ 1489674 h 7207199"/>
              <a:gd name="connsiteX107" fmla="*/ 5390012 w 7097196"/>
              <a:gd name="connsiteY107" fmla="*/ 1413535 h 7207199"/>
              <a:gd name="connsiteX108" fmla="*/ 5349703 w 7097196"/>
              <a:gd name="connsiteY108" fmla="*/ 1369742 h 7207199"/>
              <a:gd name="connsiteX109" fmla="*/ 5284014 w 7097196"/>
              <a:gd name="connsiteY109" fmla="*/ 1419755 h 7207199"/>
              <a:gd name="connsiteX110" fmla="*/ 5215837 w 7097196"/>
              <a:gd name="connsiteY110" fmla="*/ 1433938 h 7207199"/>
              <a:gd name="connsiteX111" fmla="*/ 5119543 w 7097196"/>
              <a:gd name="connsiteY111" fmla="*/ 1391390 h 7207199"/>
              <a:gd name="connsiteX112" fmla="*/ 5087445 w 7097196"/>
              <a:gd name="connsiteY112" fmla="*/ 1258768 h 7207199"/>
              <a:gd name="connsiteX113" fmla="*/ 5402951 w 7097196"/>
              <a:gd name="connsiteY113" fmla="*/ 1258768 h 7207199"/>
              <a:gd name="connsiteX114" fmla="*/ 5392501 w 7097196"/>
              <a:gd name="connsiteY114" fmla="*/ 1158741 h 7207199"/>
              <a:gd name="connsiteX115" fmla="*/ 5364135 w 7097196"/>
              <a:gd name="connsiteY115" fmla="*/ 1087080 h 7207199"/>
              <a:gd name="connsiteX116" fmla="*/ 5323826 w 7097196"/>
              <a:gd name="connsiteY116" fmla="*/ 1042044 h 7207199"/>
              <a:gd name="connsiteX117" fmla="*/ 5265353 w 7097196"/>
              <a:gd name="connsiteY117" fmla="*/ 1012931 h 7207199"/>
              <a:gd name="connsiteX118" fmla="*/ 5185978 w 7097196"/>
              <a:gd name="connsiteY118" fmla="*/ 1002481 h 7207199"/>
              <a:gd name="connsiteX119" fmla="*/ 4328440 w 7097196"/>
              <a:gd name="connsiteY119" fmla="*/ 1002481 h 7207199"/>
              <a:gd name="connsiteX120" fmla="*/ 4218709 w 7097196"/>
              <a:gd name="connsiteY120" fmla="*/ 1019898 h 7207199"/>
              <a:gd name="connsiteX121" fmla="*/ 4144809 w 7097196"/>
              <a:gd name="connsiteY121" fmla="*/ 1070160 h 7207199"/>
              <a:gd name="connsiteX122" fmla="*/ 4118932 w 7097196"/>
              <a:gd name="connsiteY122" fmla="*/ 1147793 h 7207199"/>
              <a:gd name="connsiteX123" fmla="*/ 4129382 w 7097196"/>
              <a:gd name="connsiteY123" fmla="*/ 1197557 h 7207199"/>
              <a:gd name="connsiteX124" fmla="*/ 4157748 w 7097196"/>
              <a:gd name="connsiteY124" fmla="*/ 1238115 h 7207199"/>
              <a:gd name="connsiteX125" fmla="*/ 4199799 w 7097196"/>
              <a:gd name="connsiteY125" fmla="*/ 1270711 h 7207199"/>
              <a:gd name="connsiteX126" fmla="*/ 4251305 w 7097196"/>
              <a:gd name="connsiteY126" fmla="*/ 1297086 h 7207199"/>
              <a:gd name="connsiteX127" fmla="*/ 4320229 w 7097196"/>
              <a:gd name="connsiteY127" fmla="*/ 1331672 h 7207199"/>
              <a:gd name="connsiteX128" fmla="*/ 4349092 w 7097196"/>
              <a:gd name="connsiteY128" fmla="*/ 1359292 h 7207199"/>
              <a:gd name="connsiteX129" fmla="*/ 4357801 w 7097196"/>
              <a:gd name="connsiteY129" fmla="*/ 1394127 h 7207199"/>
              <a:gd name="connsiteX130" fmla="*/ 4338642 w 7097196"/>
              <a:gd name="connsiteY130" fmla="*/ 1443394 h 7207199"/>
              <a:gd name="connsiteX131" fmla="*/ 4282159 w 7097196"/>
              <a:gd name="connsiteY131" fmla="*/ 1460313 h 7207199"/>
              <a:gd name="connsiteX132" fmla="*/ 4212987 w 7097196"/>
              <a:gd name="connsiteY132" fmla="*/ 1437671 h 7207199"/>
              <a:gd name="connsiteX133" fmla="*/ 4175166 w 7097196"/>
              <a:gd name="connsiteY133" fmla="*/ 1369742 h 7207199"/>
              <a:gd name="connsiteX134" fmla="*/ 4108481 w 7097196"/>
              <a:gd name="connsiteY134" fmla="*/ 1369742 h 7207199"/>
              <a:gd name="connsiteX135" fmla="*/ 4108481 w 7097196"/>
              <a:gd name="connsiteY135" fmla="*/ 1488679 h 7207199"/>
              <a:gd name="connsiteX136" fmla="*/ 4291117 w 7097196"/>
              <a:gd name="connsiteY136" fmla="*/ 1512068 h 7207199"/>
              <a:gd name="connsiteX137" fmla="*/ 4373974 w 7097196"/>
              <a:gd name="connsiteY137" fmla="*/ 1502862 h 7207199"/>
              <a:gd name="connsiteX138" fmla="*/ 4438419 w 7097196"/>
              <a:gd name="connsiteY138" fmla="*/ 1474745 h 7207199"/>
              <a:gd name="connsiteX139" fmla="*/ 4480221 w 7097196"/>
              <a:gd name="connsiteY139" fmla="*/ 1426722 h 7207199"/>
              <a:gd name="connsiteX140" fmla="*/ 4495151 w 7097196"/>
              <a:gd name="connsiteY140" fmla="*/ 1357301 h 7207199"/>
              <a:gd name="connsiteX141" fmla="*/ 4479724 w 7097196"/>
              <a:gd name="connsiteY141" fmla="*/ 1292856 h 7207199"/>
              <a:gd name="connsiteX142" fmla="*/ 4434936 w 7097196"/>
              <a:gd name="connsiteY142" fmla="*/ 1244087 h 7207199"/>
              <a:gd name="connsiteX143" fmla="*/ 4358796 w 7097196"/>
              <a:gd name="connsiteY143" fmla="*/ 1203529 h 7207199"/>
              <a:gd name="connsiteX144" fmla="*/ 4289624 w 7097196"/>
              <a:gd name="connsiteY144" fmla="*/ 1169440 h 7207199"/>
              <a:gd name="connsiteX145" fmla="*/ 4264742 w 7097196"/>
              <a:gd name="connsiteY145" fmla="*/ 1143314 h 7207199"/>
              <a:gd name="connsiteX146" fmla="*/ 4257775 w 7097196"/>
              <a:gd name="connsiteY146" fmla="*/ 1110967 h 7207199"/>
              <a:gd name="connsiteX147" fmla="*/ 4277183 w 7097196"/>
              <a:gd name="connsiteY147" fmla="*/ 1069165 h 7207199"/>
              <a:gd name="connsiteX148" fmla="*/ 4329435 w 7097196"/>
              <a:gd name="connsiteY148" fmla="*/ 1054236 h 7207199"/>
              <a:gd name="connsiteX149" fmla="*/ 4368749 w 7097196"/>
              <a:gd name="connsiteY149" fmla="*/ 1060954 h 7207199"/>
              <a:gd name="connsiteX150" fmla="*/ 4398857 w 7097196"/>
              <a:gd name="connsiteY150" fmla="*/ 1085090 h 7207199"/>
              <a:gd name="connsiteX151" fmla="*/ 4423988 w 7097196"/>
              <a:gd name="connsiteY151" fmla="*/ 1134357 h 7207199"/>
              <a:gd name="connsiteX152" fmla="*/ 4489677 w 7097196"/>
              <a:gd name="connsiteY152" fmla="*/ 1134357 h 7207199"/>
              <a:gd name="connsiteX153" fmla="*/ 4489677 w 7097196"/>
              <a:gd name="connsiteY153" fmla="*/ 1018405 h 7207199"/>
              <a:gd name="connsiteX154" fmla="*/ 4399603 w 7097196"/>
              <a:gd name="connsiteY154" fmla="*/ 1005467 h 7207199"/>
              <a:gd name="connsiteX155" fmla="*/ 4328440 w 7097196"/>
              <a:gd name="connsiteY155" fmla="*/ 1002481 h 7207199"/>
              <a:gd name="connsiteX156" fmla="*/ 2709478 w 7097196"/>
              <a:gd name="connsiteY156" fmla="*/ 1002481 h 7207199"/>
              <a:gd name="connsiteX157" fmla="*/ 2581086 w 7097196"/>
              <a:gd name="connsiteY157" fmla="*/ 1032588 h 7207199"/>
              <a:gd name="connsiteX158" fmla="*/ 2495740 w 7097196"/>
              <a:gd name="connsiteY158" fmla="*/ 1121169 h 7207199"/>
              <a:gd name="connsiteX159" fmla="*/ 2465633 w 7097196"/>
              <a:gd name="connsiteY159" fmla="*/ 1260260 h 7207199"/>
              <a:gd name="connsiteX160" fmla="*/ 2524106 w 7097196"/>
              <a:gd name="connsiteY160" fmla="*/ 1448619 h 7207199"/>
              <a:gd name="connsiteX161" fmla="*/ 2698530 w 7097196"/>
              <a:gd name="connsiteY161" fmla="*/ 1512068 h 7207199"/>
              <a:gd name="connsiteX162" fmla="*/ 2812988 w 7097196"/>
              <a:gd name="connsiteY162" fmla="*/ 1489674 h 7207199"/>
              <a:gd name="connsiteX163" fmla="*/ 2913512 w 7097196"/>
              <a:gd name="connsiteY163" fmla="*/ 1413535 h 7207199"/>
              <a:gd name="connsiteX164" fmla="*/ 2873203 w 7097196"/>
              <a:gd name="connsiteY164" fmla="*/ 1369742 h 7207199"/>
              <a:gd name="connsiteX165" fmla="*/ 2807514 w 7097196"/>
              <a:gd name="connsiteY165" fmla="*/ 1419755 h 7207199"/>
              <a:gd name="connsiteX166" fmla="*/ 2739337 w 7097196"/>
              <a:gd name="connsiteY166" fmla="*/ 1433938 h 7207199"/>
              <a:gd name="connsiteX167" fmla="*/ 2643043 w 7097196"/>
              <a:gd name="connsiteY167" fmla="*/ 1391390 h 7207199"/>
              <a:gd name="connsiteX168" fmla="*/ 2610945 w 7097196"/>
              <a:gd name="connsiteY168" fmla="*/ 1258768 h 7207199"/>
              <a:gd name="connsiteX169" fmla="*/ 2926451 w 7097196"/>
              <a:gd name="connsiteY169" fmla="*/ 1258768 h 7207199"/>
              <a:gd name="connsiteX170" fmla="*/ 2916001 w 7097196"/>
              <a:gd name="connsiteY170" fmla="*/ 1158741 h 7207199"/>
              <a:gd name="connsiteX171" fmla="*/ 2887635 w 7097196"/>
              <a:gd name="connsiteY171" fmla="*/ 1087080 h 7207199"/>
              <a:gd name="connsiteX172" fmla="*/ 2847326 w 7097196"/>
              <a:gd name="connsiteY172" fmla="*/ 1042044 h 7207199"/>
              <a:gd name="connsiteX173" fmla="*/ 2788852 w 7097196"/>
              <a:gd name="connsiteY173" fmla="*/ 1012931 h 7207199"/>
              <a:gd name="connsiteX174" fmla="*/ 2709478 w 7097196"/>
              <a:gd name="connsiteY174" fmla="*/ 1002481 h 7207199"/>
              <a:gd name="connsiteX175" fmla="*/ 4640398 w 7097196"/>
              <a:gd name="connsiteY175" fmla="*/ 886032 h 7207199"/>
              <a:gd name="connsiteX176" fmla="*/ 4633182 w 7097196"/>
              <a:gd name="connsiteY176" fmla="*/ 953214 h 7207199"/>
              <a:gd name="connsiteX177" fmla="*/ 4620492 w 7097196"/>
              <a:gd name="connsiteY177" fmla="*/ 996758 h 7207199"/>
              <a:gd name="connsiteX178" fmla="*/ 4598098 w 7097196"/>
              <a:gd name="connsiteY178" fmla="*/ 1023382 h 7207199"/>
              <a:gd name="connsiteX179" fmla="*/ 4553310 w 7097196"/>
              <a:gd name="connsiteY179" fmla="*/ 1038311 h 7207199"/>
              <a:gd name="connsiteX180" fmla="*/ 4553310 w 7097196"/>
              <a:gd name="connsiteY180" fmla="*/ 1072649 h 7207199"/>
              <a:gd name="connsiteX181" fmla="*/ 4615515 w 7097196"/>
              <a:gd name="connsiteY181" fmla="*/ 1072649 h 7207199"/>
              <a:gd name="connsiteX182" fmla="*/ 4615515 w 7097196"/>
              <a:gd name="connsiteY182" fmla="*/ 1350832 h 7207199"/>
              <a:gd name="connsiteX183" fmla="*/ 4652092 w 7097196"/>
              <a:gd name="connsiteY183" fmla="*/ 1472008 h 7207199"/>
              <a:gd name="connsiteX184" fmla="*/ 4762818 w 7097196"/>
              <a:gd name="connsiteY184" fmla="*/ 1512068 h 7207199"/>
              <a:gd name="connsiteX185" fmla="*/ 4838460 w 7097196"/>
              <a:gd name="connsiteY185" fmla="*/ 1496890 h 7207199"/>
              <a:gd name="connsiteX186" fmla="*/ 4918083 w 7097196"/>
              <a:gd name="connsiteY186" fmla="*/ 1444389 h 7207199"/>
              <a:gd name="connsiteX187" fmla="*/ 4886731 w 7097196"/>
              <a:gd name="connsiteY187" fmla="*/ 1402587 h 7207199"/>
              <a:gd name="connsiteX188" fmla="*/ 4861103 w 7097196"/>
              <a:gd name="connsiteY188" fmla="*/ 1421000 h 7207199"/>
              <a:gd name="connsiteX189" fmla="*/ 4837962 w 7097196"/>
              <a:gd name="connsiteY189" fmla="*/ 1429957 h 7207199"/>
              <a:gd name="connsiteX190" fmla="*/ 4813080 w 7097196"/>
              <a:gd name="connsiteY190" fmla="*/ 1432445 h 7207199"/>
              <a:gd name="connsiteX191" fmla="*/ 4782226 w 7097196"/>
              <a:gd name="connsiteY191" fmla="*/ 1419755 h 7207199"/>
              <a:gd name="connsiteX192" fmla="*/ 4764560 w 7097196"/>
              <a:gd name="connsiteY192" fmla="*/ 1380193 h 7207199"/>
              <a:gd name="connsiteX193" fmla="*/ 4759335 w 7097196"/>
              <a:gd name="connsiteY193" fmla="*/ 1297086 h 7207199"/>
              <a:gd name="connsiteX194" fmla="*/ 4759335 w 7097196"/>
              <a:gd name="connsiteY194" fmla="*/ 1072649 h 7207199"/>
              <a:gd name="connsiteX195" fmla="*/ 4901163 w 7097196"/>
              <a:gd name="connsiteY195" fmla="*/ 1072649 h 7207199"/>
              <a:gd name="connsiteX196" fmla="*/ 4901163 w 7097196"/>
              <a:gd name="connsiteY196" fmla="*/ 1010443 h 7207199"/>
              <a:gd name="connsiteX197" fmla="*/ 4759335 w 7097196"/>
              <a:gd name="connsiteY197" fmla="*/ 1010443 h 7207199"/>
              <a:gd name="connsiteX198" fmla="*/ 4759335 w 7097196"/>
              <a:gd name="connsiteY198" fmla="*/ 886032 h 7207199"/>
              <a:gd name="connsiteX199" fmla="*/ 3583123 w 7097196"/>
              <a:gd name="connsiteY199" fmla="*/ 886032 h 7207199"/>
              <a:gd name="connsiteX200" fmla="*/ 3575907 w 7097196"/>
              <a:gd name="connsiteY200" fmla="*/ 953214 h 7207199"/>
              <a:gd name="connsiteX201" fmla="*/ 3563217 w 7097196"/>
              <a:gd name="connsiteY201" fmla="*/ 996758 h 7207199"/>
              <a:gd name="connsiteX202" fmla="*/ 3540823 w 7097196"/>
              <a:gd name="connsiteY202" fmla="*/ 1023382 h 7207199"/>
              <a:gd name="connsiteX203" fmla="*/ 3496036 w 7097196"/>
              <a:gd name="connsiteY203" fmla="*/ 1038311 h 7207199"/>
              <a:gd name="connsiteX204" fmla="*/ 3496036 w 7097196"/>
              <a:gd name="connsiteY204" fmla="*/ 1072649 h 7207199"/>
              <a:gd name="connsiteX205" fmla="*/ 3558241 w 7097196"/>
              <a:gd name="connsiteY205" fmla="*/ 1072649 h 7207199"/>
              <a:gd name="connsiteX206" fmla="*/ 3558241 w 7097196"/>
              <a:gd name="connsiteY206" fmla="*/ 1350832 h 7207199"/>
              <a:gd name="connsiteX207" fmla="*/ 3594817 w 7097196"/>
              <a:gd name="connsiteY207" fmla="*/ 1472008 h 7207199"/>
              <a:gd name="connsiteX208" fmla="*/ 3705543 w 7097196"/>
              <a:gd name="connsiteY208" fmla="*/ 1512068 h 7207199"/>
              <a:gd name="connsiteX209" fmla="*/ 3781185 w 7097196"/>
              <a:gd name="connsiteY209" fmla="*/ 1496890 h 7207199"/>
              <a:gd name="connsiteX210" fmla="*/ 3860808 w 7097196"/>
              <a:gd name="connsiteY210" fmla="*/ 1444389 h 7207199"/>
              <a:gd name="connsiteX211" fmla="*/ 3829456 w 7097196"/>
              <a:gd name="connsiteY211" fmla="*/ 1402587 h 7207199"/>
              <a:gd name="connsiteX212" fmla="*/ 3803828 w 7097196"/>
              <a:gd name="connsiteY212" fmla="*/ 1421000 h 7207199"/>
              <a:gd name="connsiteX213" fmla="*/ 3780687 w 7097196"/>
              <a:gd name="connsiteY213" fmla="*/ 1429957 h 7207199"/>
              <a:gd name="connsiteX214" fmla="*/ 3755805 w 7097196"/>
              <a:gd name="connsiteY214" fmla="*/ 1432445 h 7207199"/>
              <a:gd name="connsiteX215" fmla="*/ 3724951 w 7097196"/>
              <a:gd name="connsiteY215" fmla="*/ 1419755 h 7207199"/>
              <a:gd name="connsiteX216" fmla="*/ 3707285 w 7097196"/>
              <a:gd name="connsiteY216" fmla="*/ 1380193 h 7207199"/>
              <a:gd name="connsiteX217" fmla="*/ 3702060 w 7097196"/>
              <a:gd name="connsiteY217" fmla="*/ 1297086 h 7207199"/>
              <a:gd name="connsiteX218" fmla="*/ 3702060 w 7097196"/>
              <a:gd name="connsiteY218" fmla="*/ 1072649 h 7207199"/>
              <a:gd name="connsiteX219" fmla="*/ 3843888 w 7097196"/>
              <a:gd name="connsiteY219" fmla="*/ 1072649 h 7207199"/>
              <a:gd name="connsiteX220" fmla="*/ 3843888 w 7097196"/>
              <a:gd name="connsiteY220" fmla="*/ 1010443 h 7207199"/>
              <a:gd name="connsiteX221" fmla="*/ 3702060 w 7097196"/>
              <a:gd name="connsiteY221" fmla="*/ 1010443 h 7207199"/>
              <a:gd name="connsiteX222" fmla="*/ 3702060 w 7097196"/>
              <a:gd name="connsiteY222" fmla="*/ 886032 h 7207199"/>
              <a:gd name="connsiteX223" fmla="*/ 1771303 w 7097196"/>
              <a:gd name="connsiteY223" fmla="*/ 824822 h 7207199"/>
              <a:gd name="connsiteX224" fmla="*/ 1771303 w 7097196"/>
              <a:gd name="connsiteY224" fmla="*/ 857666 h 7207199"/>
              <a:gd name="connsiteX225" fmla="*/ 1807880 w 7097196"/>
              <a:gd name="connsiteY225" fmla="*/ 874089 h 7207199"/>
              <a:gd name="connsiteX226" fmla="*/ 1821316 w 7097196"/>
              <a:gd name="connsiteY226" fmla="*/ 897727 h 7207199"/>
              <a:gd name="connsiteX227" fmla="*/ 1824551 w 7097196"/>
              <a:gd name="connsiteY227" fmla="*/ 949233 h 7207199"/>
              <a:gd name="connsiteX228" fmla="*/ 1824551 w 7097196"/>
              <a:gd name="connsiteY228" fmla="*/ 1379695 h 7207199"/>
              <a:gd name="connsiteX229" fmla="*/ 1823058 w 7097196"/>
              <a:gd name="connsiteY229" fmla="*/ 1418511 h 7207199"/>
              <a:gd name="connsiteX230" fmla="*/ 1816340 w 7097196"/>
              <a:gd name="connsiteY230" fmla="*/ 1444140 h 7207199"/>
              <a:gd name="connsiteX231" fmla="*/ 1800415 w 7097196"/>
              <a:gd name="connsiteY231" fmla="*/ 1460313 h 7207199"/>
              <a:gd name="connsiteX232" fmla="*/ 1771303 w 7097196"/>
              <a:gd name="connsiteY232" fmla="*/ 1471262 h 7207199"/>
              <a:gd name="connsiteX233" fmla="*/ 1771303 w 7097196"/>
              <a:gd name="connsiteY233" fmla="*/ 1504106 h 7207199"/>
              <a:gd name="connsiteX234" fmla="*/ 1959412 w 7097196"/>
              <a:gd name="connsiteY234" fmla="*/ 1504106 h 7207199"/>
              <a:gd name="connsiteX235" fmla="*/ 1959412 w 7097196"/>
              <a:gd name="connsiteY235" fmla="*/ 1471262 h 7207199"/>
              <a:gd name="connsiteX236" fmla="*/ 1922836 w 7097196"/>
              <a:gd name="connsiteY236" fmla="*/ 1455586 h 7207199"/>
              <a:gd name="connsiteX237" fmla="*/ 1909399 w 7097196"/>
              <a:gd name="connsiteY237" fmla="*/ 1431948 h 7207199"/>
              <a:gd name="connsiteX238" fmla="*/ 1905667 w 7097196"/>
              <a:gd name="connsiteY238" fmla="*/ 1379695 h 7207199"/>
              <a:gd name="connsiteX239" fmla="*/ 1905667 w 7097196"/>
              <a:gd name="connsiteY239" fmla="*/ 1219454 h 7207199"/>
              <a:gd name="connsiteX240" fmla="*/ 1900690 w 7097196"/>
              <a:gd name="connsiteY240" fmla="*/ 993523 h 7207199"/>
              <a:gd name="connsiteX241" fmla="*/ 1905169 w 7097196"/>
              <a:gd name="connsiteY241" fmla="*/ 993523 h 7207199"/>
              <a:gd name="connsiteX242" fmla="*/ 1971854 w 7097196"/>
              <a:gd name="connsiteY242" fmla="*/ 1116939 h 7207199"/>
              <a:gd name="connsiteX243" fmla="*/ 2195793 w 7097196"/>
              <a:gd name="connsiteY243" fmla="*/ 1504106 h 7207199"/>
              <a:gd name="connsiteX244" fmla="*/ 2322195 w 7097196"/>
              <a:gd name="connsiteY244" fmla="*/ 1504106 h 7207199"/>
              <a:gd name="connsiteX245" fmla="*/ 2322195 w 7097196"/>
              <a:gd name="connsiteY245" fmla="*/ 949731 h 7207199"/>
              <a:gd name="connsiteX246" fmla="*/ 2325181 w 7097196"/>
              <a:gd name="connsiteY246" fmla="*/ 903201 h 7207199"/>
              <a:gd name="connsiteX247" fmla="*/ 2333890 w 7097196"/>
              <a:gd name="connsiteY247" fmla="*/ 880558 h 7207199"/>
              <a:gd name="connsiteX248" fmla="*/ 2347824 w 7097196"/>
              <a:gd name="connsiteY248" fmla="*/ 868615 h 7207199"/>
              <a:gd name="connsiteX249" fmla="*/ 2375941 w 7097196"/>
              <a:gd name="connsiteY249" fmla="*/ 857666 h 7207199"/>
              <a:gd name="connsiteX250" fmla="*/ 2375941 w 7097196"/>
              <a:gd name="connsiteY250" fmla="*/ 824822 h 7207199"/>
              <a:gd name="connsiteX251" fmla="*/ 2187831 w 7097196"/>
              <a:gd name="connsiteY251" fmla="*/ 824822 h 7207199"/>
              <a:gd name="connsiteX252" fmla="*/ 2187831 w 7097196"/>
              <a:gd name="connsiteY252" fmla="*/ 857666 h 7207199"/>
              <a:gd name="connsiteX253" fmla="*/ 2216943 w 7097196"/>
              <a:gd name="connsiteY253" fmla="*/ 868615 h 7207199"/>
              <a:gd name="connsiteX254" fmla="*/ 2230877 w 7097196"/>
              <a:gd name="connsiteY254" fmla="*/ 881056 h 7207199"/>
              <a:gd name="connsiteX255" fmla="*/ 2238591 w 7097196"/>
              <a:gd name="connsiteY255" fmla="*/ 902952 h 7207199"/>
              <a:gd name="connsiteX256" fmla="*/ 2241079 w 7097196"/>
              <a:gd name="connsiteY256" fmla="*/ 949731 h 7207199"/>
              <a:gd name="connsiteX257" fmla="*/ 2241079 w 7097196"/>
              <a:gd name="connsiteY257" fmla="*/ 1042292 h 7207199"/>
              <a:gd name="connsiteX258" fmla="*/ 2246553 w 7097196"/>
              <a:gd name="connsiteY258" fmla="*/ 1302063 h 7207199"/>
              <a:gd name="connsiteX259" fmla="*/ 2238591 w 7097196"/>
              <a:gd name="connsiteY259" fmla="*/ 1302063 h 7207199"/>
              <a:gd name="connsiteX260" fmla="*/ 2191812 w 7097196"/>
              <a:gd name="connsiteY260" fmla="*/ 1209003 h 7207199"/>
              <a:gd name="connsiteX261" fmla="*/ 2149015 w 7097196"/>
              <a:gd name="connsiteY261" fmla="*/ 1130873 h 7207199"/>
              <a:gd name="connsiteX262" fmla="*/ 1972849 w 7097196"/>
              <a:gd name="connsiteY262" fmla="*/ 824822 h 7207199"/>
              <a:gd name="connsiteX263" fmla="*/ 0 w 7097196"/>
              <a:gd name="connsiteY263" fmla="*/ 0 h 7207199"/>
              <a:gd name="connsiteX264" fmla="*/ 7097196 w 7097196"/>
              <a:gd name="connsiteY264" fmla="*/ 0 h 7207199"/>
              <a:gd name="connsiteX265" fmla="*/ 7097196 w 7097196"/>
              <a:gd name="connsiteY265" fmla="*/ 7207199 h 7207199"/>
              <a:gd name="connsiteX266" fmla="*/ 0 w 7097196"/>
              <a:gd name="connsiteY266" fmla="*/ 7207199 h 7207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</a:cxnLst>
            <a:rect l="l" t="t" r="r" b="b"/>
            <a:pathLst>
              <a:path w="7097196" h="7207199">
                <a:moveTo>
                  <a:pt x="5760256" y="1080611"/>
                </a:moveTo>
                <a:cubicBezTo>
                  <a:pt x="5790778" y="1080611"/>
                  <a:pt x="5813255" y="1096536"/>
                  <a:pt x="5827687" y="1128385"/>
                </a:cubicBezTo>
                <a:cubicBezTo>
                  <a:pt x="5842118" y="1160234"/>
                  <a:pt x="5849334" y="1209169"/>
                  <a:pt x="5849334" y="1275190"/>
                </a:cubicBezTo>
                <a:cubicBezTo>
                  <a:pt x="5849334" y="1334575"/>
                  <a:pt x="5841289" y="1380276"/>
                  <a:pt x="5825198" y="1412291"/>
                </a:cubicBezTo>
                <a:cubicBezTo>
                  <a:pt x="5809108" y="1444306"/>
                  <a:pt x="5785801" y="1460313"/>
                  <a:pt x="5755279" y="1460313"/>
                </a:cubicBezTo>
                <a:cubicBezTo>
                  <a:pt x="5725752" y="1460313"/>
                  <a:pt x="5703939" y="1450609"/>
                  <a:pt x="5689839" y="1431201"/>
                </a:cubicBezTo>
                <a:cubicBezTo>
                  <a:pt x="5675739" y="1411793"/>
                  <a:pt x="5668689" y="1381686"/>
                  <a:pt x="5668689" y="1340879"/>
                </a:cubicBezTo>
                <a:lnTo>
                  <a:pt x="5668689" y="1172177"/>
                </a:lnTo>
                <a:cubicBezTo>
                  <a:pt x="5668689" y="1154594"/>
                  <a:pt x="5673168" y="1138752"/>
                  <a:pt x="5682126" y="1124652"/>
                </a:cubicBezTo>
                <a:cubicBezTo>
                  <a:pt x="5691083" y="1110553"/>
                  <a:pt x="5702612" y="1099687"/>
                  <a:pt x="5716712" y="1092057"/>
                </a:cubicBezTo>
                <a:cubicBezTo>
                  <a:pt x="5730812" y="1084426"/>
                  <a:pt x="5745327" y="1080611"/>
                  <a:pt x="5760256" y="1080611"/>
                </a:cubicBezTo>
                <a:close/>
                <a:moveTo>
                  <a:pt x="2701516" y="1054236"/>
                </a:moveTo>
                <a:cubicBezTo>
                  <a:pt x="2728057" y="1054236"/>
                  <a:pt x="2747299" y="1066677"/>
                  <a:pt x="2759243" y="1091559"/>
                </a:cubicBezTo>
                <a:cubicBezTo>
                  <a:pt x="2771186" y="1116441"/>
                  <a:pt x="2777821" y="1154262"/>
                  <a:pt x="2779149" y="1205022"/>
                </a:cubicBezTo>
                <a:lnTo>
                  <a:pt x="2613433" y="1205022"/>
                </a:lnTo>
                <a:cubicBezTo>
                  <a:pt x="2616419" y="1156253"/>
                  <a:pt x="2625459" y="1118930"/>
                  <a:pt x="2640555" y="1093052"/>
                </a:cubicBezTo>
                <a:cubicBezTo>
                  <a:pt x="2655650" y="1067175"/>
                  <a:pt x="2675970" y="1054236"/>
                  <a:pt x="2701516" y="1054236"/>
                </a:cubicBezTo>
                <a:close/>
                <a:moveTo>
                  <a:pt x="5178017" y="1054236"/>
                </a:moveTo>
                <a:cubicBezTo>
                  <a:pt x="5204558" y="1054236"/>
                  <a:pt x="5223800" y="1066677"/>
                  <a:pt x="5235744" y="1091559"/>
                </a:cubicBezTo>
                <a:cubicBezTo>
                  <a:pt x="5247687" y="1116441"/>
                  <a:pt x="5254322" y="1154262"/>
                  <a:pt x="5255649" y="1205022"/>
                </a:cubicBezTo>
                <a:lnTo>
                  <a:pt x="5089934" y="1205022"/>
                </a:lnTo>
                <a:cubicBezTo>
                  <a:pt x="5092920" y="1156253"/>
                  <a:pt x="5101961" y="1118930"/>
                  <a:pt x="5117056" y="1093052"/>
                </a:cubicBezTo>
                <a:cubicBezTo>
                  <a:pt x="5132151" y="1067175"/>
                  <a:pt x="5152471" y="1054236"/>
                  <a:pt x="5178017" y="1054236"/>
                </a:cubicBezTo>
                <a:close/>
                <a:moveTo>
                  <a:pt x="2960644" y="1010443"/>
                </a:moveTo>
                <a:lnTo>
                  <a:pt x="2960644" y="1043288"/>
                </a:lnTo>
                <a:cubicBezTo>
                  <a:pt x="2964294" y="1043619"/>
                  <a:pt x="2968026" y="1044532"/>
                  <a:pt x="2971841" y="1046025"/>
                </a:cubicBezTo>
                <a:cubicBezTo>
                  <a:pt x="2975657" y="1047518"/>
                  <a:pt x="2979804" y="1050006"/>
                  <a:pt x="2984283" y="1053489"/>
                </a:cubicBezTo>
                <a:cubicBezTo>
                  <a:pt x="2988761" y="1056973"/>
                  <a:pt x="2993821" y="1061783"/>
                  <a:pt x="2999461" y="1067921"/>
                </a:cubicBezTo>
                <a:cubicBezTo>
                  <a:pt x="3005101" y="1074059"/>
                  <a:pt x="3010575" y="1080528"/>
                  <a:pt x="3015883" y="1087329"/>
                </a:cubicBezTo>
                <a:cubicBezTo>
                  <a:pt x="3021191" y="1094130"/>
                  <a:pt x="3027496" y="1102839"/>
                  <a:pt x="3034793" y="1113455"/>
                </a:cubicBezTo>
                <a:lnTo>
                  <a:pt x="3151741" y="1278673"/>
                </a:lnTo>
                <a:lnTo>
                  <a:pt x="3047733" y="1396615"/>
                </a:lnTo>
                <a:cubicBezTo>
                  <a:pt x="3027164" y="1420170"/>
                  <a:pt x="3009662" y="1437754"/>
                  <a:pt x="2995231" y="1449365"/>
                </a:cubicBezTo>
                <a:cubicBezTo>
                  <a:pt x="2980799" y="1460977"/>
                  <a:pt x="2966450" y="1468276"/>
                  <a:pt x="2952184" y="1471262"/>
                </a:cubicBezTo>
                <a:lnTo>
                  <a:pt x="2952184" y="1504106"/>
                </a:lnTo>
                <a:lnTo>
                  <a:pt x="3143777" y="1504106"/>
                </a:lnTo>
                <a:lnTo>
                  <a:pt x="3143777" y="1471262"/>
                </a:lnTo>
                <a:cubicBezTo>
                  <a:pt x="3130839" y="1469935"/>
                  <a:pt x="3121383" y="1466451"/>
                  <a:pt x="3115413" y="1460811"/>
                </a:cubicBezTo>
                <a:cubicBezTo>
                  <a:pt x="3109440" y="1455171"/>
                  <a:pt x="3106454" y="1448370"/>
                  <a:pt x="3106454" y="1440408"/>
                </a:cubicBezTo>
                <a:cubicBezTo>
                  <a:pt x="3106454" y="1432445"/>
                  <a:pt x="3107864" y="1425312"/>
                  <a:pt x="3110684" y="1419009"/>
                </a:cubicBezTo>
                <a:cubicBezTo>
                  <a:pt x="3113504" y="1412705"/>
                  <a:pt x="3120555" y="1402753"/>
                  <a:pt x="3131834" y="1389150"/>
                </a:cubicBezTo>
                <a:lnTo>
                  <a:pt x="3184087" y="1324954"/>
                </a:lnTo>
                <a:lnTo>
                  <a:pt x="3240321" y="1405573"/>
                </a:lnTo>
                <a:cubicBezTo>
                  <a:pt x="3246292" y="1414198"/>
                  <a:pt x="3250273" y="1420253"/>
                  <a:pt x="3252264" y="1423737"/>
                </a:cubicBezTo>
                <a:cubicBezTo>
                  <a:pt x="3254254" y="1427220"/>
                  <a:pt x="3255747" y="1430704"/>
                  <a:pt x="3256743" y="1434187"/>
                </a:cubicBezTo>
                <a:cubicBezTo>
                  <a:pt x="3257739" y="1437671"/>
                  <a:pt x="3258236" y="1441403"/>
                  <a:pt x="3258236" y="1445384"/>
                </a:cubicBezTo>
                <a:cubicBezTo>
                  <a:pt x="3258236" y="1460313"/>
                  <a:pt x="3247951" y="1468939"/>
                  <a:pt x="3227382" y="1471262"/>
                </a:cubicBezTo>
                <a:lnTo>
                  <a:pt x="3227382" y="1504106"/>
                </a:lnTo>
                <a:lnTo>
                  <a:pt x="3469735" y="1504106"/>
                </a:lnTo>
                <a:lnTo>
                  <a:pt x="3469735" y="1471262"/>
                </a:lnTo>
                <a:cubicBezTo>
                  <a:pt x="3460113" y="1468607"/>
                  <a:pt x="3451239" y="1464460"/>
                  <a:pt x="3443110" y="1458820"/>
                </a:cubicBezTo>
                <a:cubicBezTo>
                  <a:pt x="3434983" y="1453180"/>
                  <a:pt x="3426688" y="1445301"/>
                  <a:pt x="3418229" y="1435182"/>
                </a:cubicBezTo>
                <a:cubicBezTo>
                  <a:pt x="3409768" y="1425064"/>
                  <a:pt x="3400064" y="1412208"/>
                  <a:pt x="3389117" y="1396615"/>
                </a:cubicBezTo>
                <a:lnTo>
                  <a:pt x="3272667" y="1231397"/>
                </a:lnTo>
                <a:lnTo>
                  <a:pt x="3368215" y="1123408"/>
                </a:lnTo>
                <a:cubicBezTo>
                  <a:pt x="3392102" y="1094545"/>
                  <a:pt x="3410350" y="1074888"/>
                  <a:pt x="3422956" y="1064438"/>
                </a:cubicBezTo>
                <a:cubicBezTo>
                  <a:pt x="3435563" y="1053987"/>
                  <a:pt x="3449331" y="1046937"/>
                  <a:pt x="3464260" y="1043288"/>
                </a:cubicBezTo>
                <a:lnTo>
                  <a:pt x="3464260" y="1010443"/>
                </a:lnTo>
                <a:lnTo>
                  <a:pt x="3274659" y="1010443"/>
                </a:lnTo>
                <a:lnTo>
                  <a:pt x="3274659" y="1043288"/>
                </a:lnTo>
                <a:cubicBezTo>
                  <a:pt x="3286270" y="1043951"/>
                  <a:pt x="3295476" y="1047186"/>
                  <a:pt x="3302278" y="1052992"/>
                </a:cubicBezTo>
                <a:cubicBezTo>
                  <a:pt x="3309079" y="1058798"/>
                  <a:pt x="3312479" y="1066345"/>
                  <a:pt x="3312479" y="1075635"/>
                </a:cubicBezTo>
                <a:cubicBezTo>
                  <a:pt x="3312479" y="1082933"/>
                  <a:pt x="3310903" y="1089983"/>
                  <a:pt x="3307752" y="1096784"/>
                </a:cubicBezTo>
                <a:cubicBezTo>
                  <a:pt x="3304599" y="1103586"/>
                  <a:pt x="3299042" y="1111963"/>
                  <a:pt x="3291080" y="1121915"/>
                </a:cubicBezTo>
                <a:lnTo>
                  <a:pt x="3240321" y="1185116"/>
                </a:lnTo>
                <a:lnTo>
                  <a:pt x="3189063" y="1111963"/>
                </a:lnTo>
                <a:cubicBezTo>
                  <a:pt x="3182428" y="1102673"/>
                  <a:pt x="3177618" y="1094960"/>
                  <a:pt x="3174631" y="1088822"/>
                </a:cubicBezTo>
                <a:cubicBezTo>
                  <a:pt x="3171647" y="1082684"/>
                  <a:pt x="3170153" y="1076796"/>
                  <a:pt x="3170153" y="1071156"/>
                </a:cubicBezTo>
                <a:cubicBezTo>
                  <a:pt x="3170153" y="1056890"/>
                  <a:pt x="3180603" y="1047601"/>
                  <a:pt x="3201505" y="1043288"/>
                </a:cubicBezTo>
                <a:lnTo>
                  <a:pt x="3201505" y="1010443"/>
                </a:lnTo>
                <a:close/>
                <a:moveTo>
                  <a:pt x="5823456" y="1002481"/>
                </a:moveTo>
                <a:cubicBezTo>
                  <a:pt x="5797246" y="1002481"/>
                  <a:pt x="5771784" y="1008536"/>
                  <a:pt x="5747067" y="1020645"/>
                </a:cubicBezTo>
                <a:cubicBezTo>
                  <a:pt x="5722351" y="1032754"/>
                  <a:pt x="5695727" y="1052577"/>
                  <a:pt x="5667195" y="1080113"/>
                </a:cubicBezTo>
                <a:lnTo>
                  <a:pt x="5661224" y="1078620"/>
                </a:lnTo>
                <a:lnTo>
                  <a:pt x="5668688" y="1006462"/>
                </a:lnTo>
                <a:lnTo>
                  <a:pt x="5607478" y="1006462"/>
                </a:lnTo>
                <a:lnTo>
                  <a:pt x="5469631" y="1010443"/>
                </a:lnTo>
                <a:lnTo>
                  <a:pt x="5469631" y="1044283"/>
                </a:lnTo>
                <a:cubicBezTo>
                  <a:pt x="5482238" y="1046937"/>
                  <a:pt x="5491776" y="1049923"/>
                  <a:pt x="5498245" y="1053241"/>
                </a:cubicBezTo>
                <a:cubicBezTo>
                  <a:pt x="5504715" y="1056558"/>
                  <a:pt x="5509608" y="1060456"/>
                  <a:pt x="5512926" y="1064935"/>
                </a:cubicBezTo>
                <a:cubicBezTo>
                  <a:pt x="5516243" y="1069414"/>
                  <a:pt x="5518814" y="1075137"/>
                  <a:pt x="5520639" y="1082104"/>
                </a:cubicBezTo>
                <a:cubicBezTo>
                  <a:pt x="5522464" y="1089071"/>
                  <a:pt x="5523625" y="1097531"/>
                  <a:pt x="5524123" y="1107484"/>
                </a:cubicBezTo>
                <a:cubicBezTo>
                  <a:pt x="5524620" y="1117437"/>
                  <a:pt x="5524869" y="1134191"/>
                  <a:pt x="5524869" y="1157746"/>
                </a:cubicBezTo>
                <a:lnTo>
                  <a:pt x="5524869" y="1593184"/>
                </a:lnTo>
                <a:cubicBezTo>
                  <a:pt x="5524869" y="1618398"/>
                  <a:pt x="5523542" y="1636065"/>
                  <a:pt x="5520888" y="1646183"/>
                </a:cubicBezTo>
                <a:cubicBezTo>
                  <a:pt x="5518234" y="1656302"/>
                  <a:pt x="5513838" y="1664182"/>
                  <a:pt x="5507701" y="1669822"/>
                </a:cubicBezTo>
                <a:cubicBezTo>
                  <a:pt x="5501563" y="1675462"/>
                  <a:pt x="5490698" y="1680604"/>
                  <a:pt x="5475105" y="1685248"/>
                </a:cubicBezTo>
                <a:lnTo>
                  <a:pt x="5475105" y="1718093"/>
                </a:lnTo>
                <a:lnTo>
                  <a:pt x="5722932" y="1718093"/>
                </a:lnTo>
                <a:lnTo>
                  <a:pt x="5722932" y="1685248"/>
                </a:lnTo>
                <a:cubicBezTo>
                  <a:pt x="5705680" y="1681267"/>
                  <a:pt x="5693653" y="1676291"/>
                  <a:pt x="5686852" y="1670319"/>
                </a:cubicBezTo>
                <a:cubicBezTo>
                  <a:pt x="5680051" y="1664347"/>
                  <a:pt x="5675323" y="1656219"/>
                  <a:pt x="5672670" y="1645935"/>
                </a:cubicBezTo>
                <a:cubicBezTo>
                  <a:pt x="5670015" y="1635650"/>
                  <a:pt x="5668688" y="1618067"/>
                  <a:pt x="5668688" y="1593184"/>
                </a:cubicBezTo>
                <a:lnTo>
                  <a:pt x="5668688" y="1499130"/>
                </a:lnTo>
                <a:cubicBezTo>
                  <a:pt x="5701533" y="1507756"/>
                  <a:pt x="5735041" y="1512068"/>
                  <a:pt x="5769212" y="1512068"/>
                </a:cubicBezTo>
                <a:cubicBezTo>
                  <a:pt x="5819640" y="1512068"/>
                  <a:pt x="5862106" y="1502364"/>
                  <a:pt x="5896609" y="1482956"/>
                </a:cubicBezTo>
                <a:cubicBezTo>
                  <a:pt x="5931113" y="1463548"/>
                  <a:pt x="5957073" y="1434519"/>
                  <a:pt x="5974491" y="1395869"/>
                </a:cubicBezTo>
                <a:cubicBezTo>
                  <a:pt x="5991908" y="1357218"/>
                  <a:pt x="6000617" y="1309195"/>
                  <a:pt x="6000617" y="1251801"/>
                </a:cubicBezTo>
                <a:cubicBezTo>
                  <a:pt x="6000617" y="1168860"/>
                  <a:pt x="5985853" y="1106571"/>
                  <a:pt x="5956327" y="1064935"/>
                </a:cubicBezTo>
                <a:cubicBezTo>
                  <a:pt x="5926800" y="1023299"/>
                  <a:pt x="5882509" y="1002481"/>
                  <a:pt x="5823456" y="1002481"/>
                </a:cubicBezTo>
                <a:close/>
                <a:moveTo>
                  <a:pt x="5185978" y="1002481"/>
                </a:moveTo>
                <a:cubicBezTo>
                  <a:pt x="5137209" y="1002481"/>
                  <a:pt x="5094412" y="1012517"/>
                  <a:pt x="5057586" y="1032588"/>
                </a:cubicBezTo>
                <a:cubicBezTo>
                  <a:pt x="5020760" y="1052660"/>
                  <a:pt x="4992312" y="1082187"/>
                  <a:pt x="4972240" y="1121169"/>
                </a:cubicBezTo>
                <a:cubicBezTo>
                  <a:pt x="4952169" y="1160151"/>
                  <a:pt x="4942133" y="1206515"/>
                  <a:pt x="4942133" y="1260260"/>
                </a:cubicBezTo>
                <a:cubicBezTo>
                  <a:pt x="4942133" y="1343533"/>
                  <a:pt x="4961624" y="1406319"/>
                  <a:pt x="5000606" y="1448619"/>
                </a:cubicBezTo>
                <a:cubicBezTo>
                  <a:pt x="5039588" y="1490919"/>
                  <a:pt x="5097730" y="1512068"/>
                  <a:pt x="5175030" y="1512068"/>
                </a:cubicBezTo>
                <a:cubicBezTo>
                  <a:pt x="5218159" y="1512068"/>
                  <a:pt x="5256312" y="1504604"/>
                  <a:pt x="5289488" y="1489674"/>
                </a:cubicBezTo>
                <a:cubicBezTo>
                  <a:pt x="5322665" y="1474745"/>
                  <a:pt x="5356173" y="1449365"/>
                  <a:pt x="5390012" y="1413535"/>
                </a:cubicBezTo>
                <a:lnTo>
                  <a:pt x="5349703" y="1369742"/>
                </a:lnTo>
                <a:cubicBezTo>
                  <a:pt x="5326148" y="1393629"/>
                  <a:pt x="5304252" y="1410300"/>
                  <a:pt x="5284014" y="1419755"/>
                </a:cubicBezTo>
                <a:cubicBezTo>
                  <a:pt x="5263776" y="1429211"/>
                  <a:pt x="5241051" y="1433938"/>
                  <a:pt x="5215837" y="1433938"/>
                </a:cubicBezTo>
                <a:cubicBezTo>
                  <a:pt x="5172708" y="1433938"/>
                  <a:pt x="5140610" y="1419755"/>
                  <a:pt x="5119543" y="1391390"/>
                </a:cubicBezTo>
                <a:cubicBezTo>
                  <a:pt x="5098476" y="1363024"/>
                  <a:pt x="5087777" y="1318817"/>
                  <a:pt x="5087445" y="1258768"/>
                </a:cubicBezTo>
                <a:lnTo>
                  <a:pt x="5402951" y="1258768"/>
                </a:lnTo>
                <a:cubicBezTo>
                  <a:pt x="5402619" y="1219619"/>
                  <a:pt x="5399136" y="1186277"/>
                  <a:pt x="5392501" y="1158741"/>
                </a:cubicBezTo>
                <a:cubicBezTo>
                  <a:pt x="5386197" y="1131868"/>
                  <a:pt x="5376742" y="1107981"/>
                  <a:pt x="5364135" y="1087080"/>
                </a:cubicBezTo>
                <a:cubicBezTo>
                  <a:pt x="5353519" y="1069497"/>
                  <a:pt x="5340082" y="1054485"/>
                  <a:pt x="5323826" y="1042044"/>
                </a:cubicBezTo>
                <a:cubicBezTo>
                  <a:pt x="5307569" y="1029602"/>
                  <a:pt x="5288078" y="1019898"/>
                  <a:pt x="5265353" y="1012931"/>
                </a:cubicBezTo>
                <a:cubicBezTo>
                  <a:pt x="5242627" y="1005964"/>
                  <a:pt x="5216169" y="1002481"/>
                  <a:pt x="5185978" y="1002481"/>
                </a:cubicBezTo>
                <a:close/>
                <a:moveTo>
                  <a:pt x="4328440" y="1002481"/>
                </a:moveTo>
                <a:cubicBezTo>
                  <a:pt x="4287301" y="1002481"/>
                  <a:pt x="4250725" y="1008287"/>
                  <a:pt x="4218709" y="1019898"/>
                </a:cubicBezTo>
                <a:cubicBezTo>
                  <a:pt x="4186694" y="1031510"/>
                  <a:pt x="4162061" y="1048264"/>
                  <a:pt x="4144809" y="1070160"/>
                </a:cubicBezTo>
                <a:cubicBezTo>
                  <a:pt x="4127558" y="1092057"/>
                  <a:pt x="4118932" y="1117934"/>
                  <a:pt x="4118932" y="1147793"/>
                </a:cubicBezTo>
                <a:cubicBezTo>
                  <a:pt x="4118932" y="1166040"/>
                  <a:pt x="4122415" y="1182628"/>
                  <a:pt x="4129382" y="1197557"/>
                </a:cubicBezTo>
                <a:cubicBezTo>
                  <a:pt x="4136349" y="1212487"/>
                  <a:pt x="4145805" y="1226006"/>
                  <a:pt x="4157748" y="1238115"/>
                </a:cubicBezTo>
                <a:cubicBezTo>
                  <a:pt x="4169692" y="1250225"/>
                  <a:pt x="4183708" y="1261090"/>
                  <a:pt x="4199799" y="1270711"/>
                </a:cubicBezTo>
                <a:cubicBezTo>
                  <a:pt x="4215890" y="1280332"/>
                  <a:pt x="4233058" y="1289124"/>
                  <a:pt x="4251305" y="1297086"/>
                </a:cubicBezTo>
                <a:cubicBezTo>
                  <a:pt x="4283818" y="1311352"/>
                  <a:pt x="4306792" y="1322881"/>
                  <a:pt x="4320229" y="1331672"/>
                </a:cubicBezTo>
                <a:cubicBezTo>
                  <a:pt x="4333665" y="1340464"/>
                  <a:pt x="4343286" y="1349671"/>
                  <a:pt x="4349092" y="1359292"/>
                </a:cubicBezTo>
                <a:cubicBezTo>
                  <a:pt x="4354898" y="1368913"/>
                  <a:pt x="4357801" y="1380524"/>
                  <a:pt x="4357801" y="1394127"/>
                </a:cubicBezTo>
                <a:cubicBezTo>
                  <a:pt x="4357801" y="1415691"/>
                  <a:pt x="4351415" y="1432114"/>
                  <a:pt x="4338642" y="1443394"/>
                </a:cubicBezTo>
                <a:cubicBezTo>
                  <a:pt x="4325869" y="1454673"/>
                  <a:pt x="4307041" y="1460313"/>
                  <a:pt x="4282159" y="1460313"/>
                </a:cubicBezTo>
                <a:cubicBezTo>
                  <a:pt x="4253296" y="1460313"/>
                  <a:pt x="4230238" y="1452766"/>
                  <a:pt x="4212987" y="1437671"/>
                </a:cubicBezTo>
                <a:cubicBezTo>
                  <a:pt x="4195735" y="1422575"/>
                  <a:pt x="4183128" y="1399933"/>
                  <a:pt x="4175166" y="1369742"/>
                </a:cubicBezTo>
                <a:lnTo>
                  <a:pt x="4108481" y="1369742"/>
                </a:lnTo>
                <a:lnTo>
                  <a:pt x="4108481" y="1488679"/>
                </a:lnTo>
                <a:cubicBezTo>
                  <a:pt x="4175497" y="1504272"/>
                  <a:pt x="4236376" y="1512068"/>
                  <a:pt x="4291117" y="1512068"/>
                </a:cubicBezTo>
                <a:cubicBezTo>
                  <a:pt x="4321307" y="1512068"/>
                  <a:pt x="4348926" y="1509000"/>
                  <a:pt x="4373974" y="1502862"/>
                </a:cubicBezTo>
                <a:cubicBezTo>
                  <a:pt x="4399023" y="1496724"/>
                  <a:pt x="4420504" y="1487352"/>
                  <a:pt x="4438419" y="1474745"/>
                </a:cubicBezTo>
                <a:cubicBezTo>
                  <a:pt x="4456334" y="1462138"/>
                  <a:pt x="4470269" y="1446131"/>
                  <a:pt x="4480221" y="1426722"/>
                </a:cubicBezTo>
                <a:cubicBezTo>
                  <a:pt x="4490174" y="1407314"/>
                  <a:pt x="4495151" y="1384174"/>
                  <a:pt x="4495151" y="1357301"/>
                </a:cubicBezTo>
                <a:cubicBezTo>
                  <a:pt x="4495151" y="1332751"/>
                  <a:pt x="4490009" y="1311269"/>
                  <a:pt x="4479724" y="1292856"/>
                </a:cubicBezTo>
                <a:cubicBezTo>
                  <a:pt x="4469439" y="1274443"/>
                  <a:pt x="4454510" y="1258187"/>
                  <a:pt x="4434936" y="1244087"/>
                </a:cubicBezTo>
                <a:cubicBezTo>
                  <a:pt x="4415362" y="1229987"/>
                  <a:pt x="4389982" y="1216468"/>
                  <a:pt x="4358796" y="1203529"/>
                </a:cubicBezTo>
                <a:cubicBezTo>
                  <a:pt x="4324625" y="1189263"/>
                  <a:pt x="4301567" y="1177900"/>
                  <a:pt x="4289624" y="1169440"/>
                </a:cubicBezTo>
                <a:cubicBezTo>
                  <a:pt x="4277680" y="1160980"/>
                  <a:pt x="4269386" y="1152272"/>
                  <a:pt x="4264742" y="1143314"/>
                </a:cubicBezTo>
                <a:cubicBezTo>
                  <a:pt x="4260097" y="1134357"/>
                  <a:pt x="4257775" y="1123574"/>
                  <a:pt x="4257775" y="1110967"/>
                </a:cubicBezTo>
                <a:cubicBezTo>
                  <a:pt x="4257775" y="1093052"/>
                  <a:pt x="4264244" y="1079118"/>
                  <a:pt x="4277183" y="1069165"/>
                </a:cubicBezTo>
                <a:cubicBezTo>
                  <a:pt x="4290121" y="1059212"/>
                  <a:pt x="4307539" y="1054236"/>
                  <a:pt x="4329435" y="1054236"/>
                </a:cubicBezTo>
                <a:cubicBezTo>
                  <a:pt x="4344697" y="1054236"/>
                  <a:pt x="4357801" y="1056475"/>
                  <a:pt x="4368749" y="1060954"/>
                </a:cubicBezTo>
                <a:cubicBezTo>
                  <a:pt x="4379697" y="1065433"/>
                  <a:pt x="4389733" y="1073478"/>
                  <a:pt x="4398857" y="1085090"/>
                </a:cubicBezTo>
                <a:cubicBezTo>
                  <a:pt x="4407980" y="1096701"/>
                  <a:pt x="4416357" y="1113124"/>
                  <a:pt x="4423988" y="1134357"/>
                </a:cubicBezTo>
                <a:lnTo>
                  <a:pt x="4489677" y="1134357"/>
                </a:lnTo>
                <a:lnTo>
                  <a:pt x="4489677" y="1018405"/>
                </a:lnTo>
                <a:cubicBezTo>
                  <a:pt x="4452851" y="1011770"/>
                  <a:pt x="4422827" y="1007457"/>
                  <a:pt x="4399603" y="1005467"/>
                </a:cubicBezTo>
                <a:cubicBezTo>
                  <a:pt x="4376380" y="1003476"/>
                  <a:pt x="4352659" y="1002481"/>
                  <a:pt x="4328440" y="1002481"/>
                </a:cubicBezTo>
                <a:close/>
                <a:moveTo>
                  <a:pt x="2709478" y="1002481"/>
                </a:moveTo>
                <a:cubicBezTo>
                  <a:pt x="2660709" y="1002481"/>
                  <a:pt x="2617912" y="1012517"/>
                  <a:pt x="2581086" y="1032588"/>
                </a:cubicBezTo>
                <a:cubicBezTo>
                  <a:pt x="2544261" y="1052660"/>
                  <a:pt x="2515812" y="1082187"/>
                  <a:pt x="2495740" y="1121169"/>
                </a:cubicBezTo>
                <a:cubicBezTo>
                  <a:pt x="2475669" y="1160151"/>
                  <a:pt x="2465633" y="1206515"/>
                  <a:pt x="2465633" y="1260260"/>
                </a:cubicBezTo>
                <a:cubicBezTo>
                  <a:pt x="2465633" y="1343533"/>
                  <a:pt x="2485124" y="1406319"/>
                  <a:pt x="2524106" y="1448619"/>
                </a:cubicBezTo>
                <a:cubicBezTo>
                  <a:pt x="2563088" y="1490919"/>
                  <a:pt x="2621229" y="1512068"/>
                  <a:pt x="2698530" y="1512068"/>
                </a:cubicBezTo>
                <a:cubicBezTo>
                  <a:pt x="2741659" y="1512068"/>
                  <a:pt x="2779812" y="1504604"/>
                  <a:pt x="2812988" y="1489674"/>
                </a:cubicBezTo>
                <a:cubicBezTo>
                  <a:pt x="2846165" y="1474745"/>
                  <a:pt x="2879673" y="1449365"/>
                  <a:pt x="2913512" y="1413535"/>
                </a:cubicBezTo>
                <a:lnTo>
                  <a:pt x="2873203" y="1369742"/>
                </a:lnTo>
                <a:cubicBezTo>
                  <a:pt x="2849648" y="1393629"/>
                  <a:pt x="2827752" y="1410300"/>
                  <a:pt x="2807514" y="1419755"/>
                </a:cubicBezTo>
                <a:cubicBezTo>
                  <a:pt x="2787277" y="1429211"/>
                  <a:pt x="2764551" y="1433938"/>
                  <a:pt x="2739337" y="1433938"/>
                </a:cubicBezTo>
                <a:cubicBezTo>
                  <a:pt x="2696208" y="1433938"/>
                  <a:pt x="2664110" y="1419755"/>
                  <a:pt x="2643043" y="1391390"/>
                </a:cubicBezTo>
                <a:cubicBezTo>
                  <a:pt x="2621976" y="1363024"/>
                  <a:pt x="2611277" y="1318817"/>
                  <a:pt x="2610945" y="1258768"/>
                </a:cubicBezTo>
                <a:lnTo>
                  <a:pt x="2926451" y="1258768"/>
                </a:lnTo>
                <a:cubicBezTo>
                  <a:pt x="2926119" y="1219619"/>
                  <a:pt x="2922636" y="1186277"/>
                  <a:pt x="2916001" y="1158741"/>
                </a:cubicBezTo>
                <a:cubicBezTo>
                  <a:pt x="2909697" y="1131868"/>
                  <a:pt x="2900242" y="1107981"/>
                  <a:pt x="2887635" y="1087080"/>
                </a:cubicBezTo>
                <a:cubicBezTo>
                  <a:pt x="2877019" y="1069497"/>
                  <a:pt x="2863582" y="1054485"/>
                  <a:pt x="2847326" y="1042044"/>
                </a:cubicBezTo>
                <a:cubicBezTo>
                  <a:pt x="2831069" y="1029602"/>
                  <a:pt x="2811578" y="1019898"/>
                  <a:pt x="2788852" y="1012931"/>
                </a:cubicBezTo>
                <a:cubicBezTo>
                  <a:pt x="2766127" y="1005964"/>
                  <a:pt x="2739669" y="1002481"/>
                  <a:pt x="2709478" y="1002481"/>
                </a:cubicBezTo>
                <a:close/>
                <a:moveTo>
                  <a:pt x="4640398" y="886032"/>
                </a:moveTo>
                <a:cubicBezTo>
                  <a:pt x="4638739" y="912905"/>
                  <a:pt x="4636334" y="935299"/>
                  <a:pt x="4633182" y="953214"/>
                </a:cubicBezTo>
                <a:cubicBezTo>
                  <a:pt x="4630030" y="971129"/>
                  <a:pt x="4625800" y="985644"/>
                  <a:pt x="4620492" y="996758"/>
                </a:cubicBezTo>
                <a:cubicBezTo>
                  <a:pt x="4615184" y="1007872"/>
                  <a:pt x="4607719" y="1016747"/>
                  <a:pt x="4598098" y="1023382"/>
                </a:cubicBezTo>
                <a:cubicBezTo>
                  <a:pt x="4588477" y="1030017"/>
                  <a:pt x="4573548" y="1034994"/>
                  <a:pt x="4553310" y="1038311"/>
                </a:cubicBezTo>
                <a:lnTo>
                  <a:pt x="4553310" y="1072649"/>
                </a:lnTo>
                <a:lnTo>
                  <a:pt x="4615515" y="1072649"/>
                </a:lnTo>
                <a:lnTo>
                  <a:pt x="4615515" y="1350832"/>
                </a:lnTo>
                <a:cubicBezTo>
                  <a:pt x="4615515" y="1404909"/>
                  <a:pt x="4627708" y="1445301"/>
                  <a:pt x="4652092" y="1472008"/>
                </a:cubicBezTo>
                <a:cubicBezTo>
                  <a:pt x="4676477" y="1498715"/>
                  <a:pt x="4713385" y="1512068"/>
                  <a:pt x="4762818" y="1512068"/>
                </a:cubicBezTo>
                <a:cubicBezTo>
                  <a:pt x="4789359" y="1512068"/>
                  <a:pt x="4814573" y="1507009"/>
                  <a:pt x="4838460" y="1496890"/>
                </a:cubicBezTo>
                <a:cubicBezTo>
                  <a:pt x="4862347" y="1486771"/>
                  <a:pt x="4888888" y="1469271"/>
                  <a:pt x="4918083" y="1444389"/>
                </a:cubicBezTo>
                <a:lnTo>
                  <a:pt x="4886731" y="1402587"/>
                </a:lnTo>
                <a:cubicBezTo>
                  <a:pt x="4877774" y="1410549"/>
                  <a:pt x="4869231" y="1416687"/>
                  <a:pt x="4861103" y="1421000"/>
                </a:cubicBezTo>
                <a:cubicBezTo>
                  <a:pt x="4852975" y="1425312"/>
                  <a:pt x="4845261" y="1428298"/>
                  <a:pt x="4837962" y="1429957"/>
                </a:cubicBezTo>
                <a:cubicBezTo>
                  <a:pt x="4830664" y="1431616"/>
                  <a:pt x="4822370" y="1432445"/>
                  <a:pt x="4813080" y="1432445"/>
                </a:cubicBezTo>
                <a:cubicBezTo>
                  <a:pt x="4800805" y="1432445"/>
                  <a:pt x="4790520" y="1428215"/>
                  <a:pt x="4782226" y="1419755"/>
                </a:cubicBezTo>
                <a:cubicBezTo>
                  <a:pt x="4773932" y="1411295"/>
                  <a:pt x="4768043" y="1398108"/>
                  <a:pt x="4764560" y="1380193"/>
                </a:cubicBezTo>
                <a:cubicBezTo>
                  <a:pt x="4761076" y="1362278"/>
                  <a:pt x="4759335" y="1334575"/>
                  <a:pt x="4759335" y="1297086"/>
                </a:cubicBezTo>
                <a:lnTo>
                  <a:pt x="4759335" y="1072649"/>
                </a:lnTo>
                <a:lnTo>
                  <a:pt x="4901163" y="1072649"/>
                </a:lnTo>
                <a:lnTo>
                  <a:pt x="4901163" y="1010443"/>
                </a:lnTo>
                <a:lnTo>
                  <a:pt x="4759335" y="1010443"/>
                </a:lnTo>
                <a:lnTo>
                  <a:pt x="4759335" y="886032"/>
                </a:lnTo>
                <a:close/>
                <a:moveTo>
                  <a:pt x="3583123" y="886032"/>
                </a:moveTo>
                <a:cubicBezTo>
                  <a:pt x="3581464" y="912905"/>
                  <a:pt x="3579059" y="935299"/>
                  <a:pt x="3575907" y="953214"/>
                </a:cubicBezTo>
                <a:cubicBezTo>
                  <a:pt x="3572755" y="971129"/>
                  <a:pt x="3568525" y="985644"/>
                  <a:pt x="3563217" y="996758"/>
                </a:cubicBezTo>
                <a:cubicBezTo>
                  <a:pt x="3557909" y="1007872"/>
                  <a:pt x="3550444" y="1016747"/>
                  <a:pt x="3540823" y="1023382"/>
                </a:cubicBezTo>
                <a:cubicBezTo>
                  <a:pt x="3531203" y="1030017"/>
                  <a:pt x="3516272" y="1034994"/>
                  <a:pt x="3496036" y="1038311"/>
                </a:cubicBezTo>
                <a:lnTo>
                  <a:pt x="3496036" y="1072649"/>
                </a:lnTo>
                <a:lnTo>
                  <a:pt x="3558241" y="1072649"/>
                </a:lnTo>
                <a:lnTo>
                  <a:pt x="3558241" y="1350832"/>
                </a:lnTo>
                <a:cubicBezTo>
                  <a:pt x="3558241" y="1404909"/>
                  <a:pt x="3570433" y="1445301"/>
                  <a:pt x="3594817" y="1472008"/>
                </a:cubicBezTo>
                <a:cubicBezTo>
                  <a:pt x="3619202" y="1498715"/>
                  <a:pt x="3656110" y="1512068"/>
                  <a:pt x="3705543" y="1512068"/>
                </a:cubicBezTo>
                <a:cubicBezTo>
                  <a:pt x="3732084" y="1512068"/>
                  <a:pt x="3757298" y="1507009"/>
                  <a:pt x="3781185" y="1496890"/>
                </a:cubicBezTo>
                <a:cubicBezTo>
                  <a:pt x="3805072" y="1486771"/>
                  <a:pt x="3831613" y="1469271"/>
                  <a:pt x="3860808" y="1444389"/>
                </a:cubicBezTo>
                <a:lnTo>
                  <a:pt x="3829456" y="1402587"/>
                </a:lnTo>
                <a:cubicBezTo>
                  <a:pt x="3820499" y="1410549"/>
                  <a:pt x="3811956" y="1416687"/>
                  <a:pt x="3803828" y="1421000"/>
                </a:cubicBezTo>
                <a:cubicBezTo>
                  <a:pt x="3795700" y="1425312"/>
                  <a:pt x="3787986" y="1428298"/>
                  <a:pt x="3780687" y="1429957"/>
                </a:cubicBezTo>
                <a:cubicBezTo>
                  <a:pt x="3773389" y="1431616"/>
                  <a:pt x="3765094" y="1432445"/>
                  <a:pt x="3755805" y="1432445"/>
                </a:cubicBezTo>
                <a:cubicBezTo>
                  <a:pt x="3743530" y="1432445"/>
                  <a:pt x="3733245" y="1428215"/>
                  <a:pt x="3724951" y="1419755"/>
                </a:cubicBezTo>
                <a:cubicBezTo>
                  <a:pt x="3716657" y="1411295"/>
                  <a:pt x="3710768" y="1398108"/>
                  <a:pt x="3707285" y="1380193"/>
                </a:cubicBezTo>
                <a:cubicBezTo>
                  <a:pt x="3703801" y="1362278"/>
                  <a:pt x="3702060" y="1334575"/>
                  <a:pt x="3702060" y="1297086"/>
                </a:cubicBezTo>
                <a:lnTo>
                  <a:pt x="3702060" y="1072649"/>
                </a:lnTo>
                <a:lnTo>
                  <a:pt x="3843888" y="1072649"/>
                </a:lnTo>
                <a:lnTo>
                  <a:pt x="3843888" y="1010443"/>
                </a:lnTo>
                <a:lnTo>
                  <a:pt x="3702060" y="1010443"/>
                </a:lnTo>
                <a:lnTo>
                  <a:pt x="3702060" y="886032"/>
                </a:lnTo>
                <a:close/>
                <a:moveTo>
                  <a:pt x="1771303" y="824822"/>
                </a:moveTo>
                <a:lnTo>
                  <a:pt x="1771303" y="857666"/>
                </a:lnTo>
                <a:cubicBezTo>
                  <a:pt x="1788886" y="862311"/>
                  <a:pt x="1801079" y="867785"/>
                  <a:pt x="1807880" y="874089"/>
                </a:cubicBezTo>
                <a:cubicBezTo>
                  <a:pt x="1814681" y="880392"/>
                  <a:pt x="1819160" y="888272"/>
                  <a:pt x="1821316" y="897727"/>
                </a:cubicBezTo>
                <a:cubicBezTo>
                  <a:pt x="1823473" y="907182"/>
                  <a:pt x="1824551" y="924351"/>
                  <a:pt x="1824551" y="949233"/>
                </a:cubicBezTo>
                <a:lnTo>
                  <a:pt x="1824551" y="1379695"/>
                </a:lnTo>
                <a:cubicBezTo>
                  <a:pt x="1824551" y="1395288"/>
                  <a:pt x="1824053" y="1408227"/>
                  <a:pt x="1823058" y="1418511"/>
                </a:cubicBezTo>
                <a:cubicBezTo>
                  <a:pt x="1822063" y="1428796"/>
                  <a:pt x="1819823" y="1437339"/>
                  <a:pt x="1816340" y="1444140"/>
                </a:cubicBezTo>
                <a:cubicBezTo>
                  <a:pt x="1812856" y="1450941"/>
                  <a:pt x="1807548" y="1456332"/>
                  <a:pt x="1800415" y="1460313"/>
                </a:cubicBezTo>
                <a:cubicBezTo>
                  <a:pt x="1793282" y="1464295"/>
                  <a:pt x="1783578" y="1467944"/>
                  <a:pt x="1771303" y="1471262"/>
                </a:cubicBezTo>
                <a:lnTo>
                  <a:pt x="1771303" y="1504106"/>
                </a:lnTo>
                <a:lnTo>
                  <a:pt x="1959412" y="1504106"/>
                </a:lnTo>
                <a:lnTo>
                  <a:pt x="1959412" y="1471262"/>
                </a:lnTo>
                <a:cubicBezTo>
                  <a:pt x="1941497" y="1466617"/>
                  <a:pt x="1929305" y="1461392"/>
                  <a:pt x="1922836" y="1455586"/>
                </a:cubicBezTo>
                <a:cubicBezTo>
                  <a:pt x="1916366" y="1449780"/>
                  <a:pt x="1911887" y="1441901"/>
                  <a:pt x="1909399" y="1431948"/>
                </a:cubicBezTo>
                <a:cubicBezTo>
                  <a:pt x="1906911" y="1421995"/>
                  <a:pt x="1905667" y="1404577"/>
                  <a:pt x="1905667" y="1379695"/>
                </a:cubicBezTo>
                <a:lnTo>
                  <a:pt x="1905667" y="1219454"/>
                </a:lnTo>
                <a:cubicBezTo>
                  <a:pt x="1905667" y="1140162"/>
                  <a:pt x="1904008" y="1064852"/>
                  <a:pt x="1900690" y="993523"/>
                </a:cubicBezTo>
                <a:lnTo>
                  <a:pt x="1905169" y="993523"/>
                </a:lnTo>
                <a:cubicBezTo>
                  <a:pt x="1919435" y="1023382"/>
                  <a:pt x="1941663" y="1064520"/>
                  <a:pt x="1971854" y="1116939"/>
                </a:cubicBezTo>
                <a:lnTo>
                  <a:pt x="2195793" y="1504106"/>
                </a:lnTo>
                <a:lnTo>
                  <a:pt x="2322195" y="1504106"/>
                </a:lnTo>
                <a:lnTo>
                  <a:pt x="2322195" y="949731"/>
                </a:lnTo>
                <a:cubicBezTo>
                  <a:pt x="2322195" y="928830"/>
                  <a:pt x="2323190" y="913320"/>
                  <a:pt x="2325181" y="903201"/>
                </a:cubicBezTo>
                <a:cubicBezTo>
                  <a:pt x="2327171" y="893082"/>
                  <a:pt x="2330074" y="885535"/>
                  <a:pt x="2333890" y="880558"/>
                </a:cubicBezTo>
                <a:cubicBezTo>
                  <a:pt x="2337705" y="875582"/>
                  <a:pt x="2342350" y="871600"/>
                  <a:pt x="2347824" y="868615"/>
                </a:cubicBezTo>
                <a:cubicBezTo>
                  <a:pt x="2353298" y="865629"/>
                  <a:pt x="2362670" y="861979"/>
                  <a:pt x="2375941" y="857666"/>
                </a:cubicBezTo>
                <a:lnTo>
                  <a:pt x="2375941" y="824822"/>
                </a:lnTo>
                <a:lnTo>
                  <a:pt x="2187831" y="824822"/>
                </a:lnTo>
                <a:lnTo>
                  <a:pt x="2187831" y="857666"/>
                </a:lnTo>
                <a:cubicBezTo>
                  <a:pt x="2201433" y="861648"/>
                  <a:pt x="2211137" y="865297"/>
                  <a:pt x="2216943" y="868615"/>
                </a:cubicBezTo>
                <a:cubicBezTo>
                  <a:pt x="2222749" y="871932"/>
                  <a:pt x="2227394" y="876079"/>
                  <a:pt x="2230877" y="881056"/>
                </a:cubicBezTo>
                <a:cubicBezTo>
                  <a:pt x="2234361" y="886032"/>
                  <a:pt x="2236932" y="893331"/>
                  <a:pt x="2238591" y="902952"/>
                </a:cubicBezTo>
                <a:cubicBezTo>
                  <a:pt x="2240250" y="912573"/>
                  <a:pt x="2241079" y="928166"/>
                  <a:pt x="2241079" y="949731"/>
                </a:cubicBezTo>
                <a:lnTo>
                  <a:pt x="2241079" y="1042292"/>
                </a:lnTo>
                <a:cubicBezTo>
                  <a:pt x="2241079" y="1136181"/>
                  <a:pt x="2242904" y="1222771"/>
                  <a:pt x="2246553" y="1302063"/>
                </a:cubicBezTo>
                <a:lnTo>
                  <a:pt x="2238591" y="1302063"/>
                </a:lnTo>
                <a:cubicBezTo>
                  <a:pt x="2224989" y="1272867"/>
                  <a:pt x="2209396" y="1241848"/>
                  <a:pt x="2191812" y="1209003"/>
                </a:cubicBezTo>
                <a:cubicBezTo>
                  <a:pt x="2174229" y="1176159"/>
                  <a:pt x="2159963" y="1150115"/>
                  <a:pt x="2149015" y="1130873"/>
                </a:cubicBezTo>
                <a:lnTo>
                  <a:pt x="1972849" y="824822"/>
                </a:lnTo>
                <a:close/>
                <a:moveTo>
                  <a:pt x="0" y="0"/>
                </a:moveTo>
                <a:lnTo>
                  <a:pt x="7097196" y="0"/>
                </a:lnTo>
                <a:lnTo>
                  <a:pt x="7097196" y="7207199"/>
                </a:lnTo>
                <a:lnTo>
                  <a:pt x="0" y="7207199"/>
                </a:lnTo>
                <a:close/>
              </a:path>
            </a:pathLst>
          </a:custGeom>
          <a:solidFill>
            <a:srgbClr val="003A6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8000" b="1" dirty="0">
              <a:latin typeface="+mj-lt"/>
            </a:endParaRPr>
          </a:p>
        </p:txBody>
      </p:sp>
      <p:sp>
        <p:nvSpPr>
          <p:cNvPr id="2" name="Pladsholder til indhold 1"/>
          <p:cNvSpPr>
            <a:spLocks noGrp="1"/>
          </p:cNvSpPr>
          <p:nvPr>
            <p:ph sz="half" idx="4294967295"/>
          </p:nvPr>
        </p:nvSpPr>
        <p:spPr>
          <a:xfrm>
            <a:off x="839416" y="1844824"/>
            <a:ext cx="4583832" cy="1257945"/>
          </a:xfrm>
        </p:spPr>
        <p:txBody>
          <a:bodyPr/>
          <a:lstStyle/>
          <a:p>
            <a:r>
              <a:rPr lang="da-DK" dirty="0">
                <a:solidFill>
                  <a:schemeClr val="bg1"/>
                </a:solidFill>
              </a:rPr>
              <a:t>24-26 </a:t>
            </a:r>
            <a:r>
              <a:rPr lang="da-DK" dirty="0" err="1">
                <a:solidFill>
                  <a:schemeClr val="bg1"/>
                </a:solidFill>
              </a:rPr>
              <a:t>january</a:t>
            </a:r>
            <a:r>
              <a:rPr lang="da-DK" dirty="0">
                <a:solidFill>
                  <a:schemeClr val="bg1"/>
                </a:solidFill>
              </a:rPr>
              <a:t>: </a:t>
            </a:r>
            <a:r>
              <a:rPr lang="da-DK" dirty="0" err="1">
                <a:solidFill>
                  <a:schemeClr val="bg1"/>
                </a:solidFill>
              </a:rPr>
              <a:t>Next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exchange</a:t>
            </a:r>
            <a:r>
              <a:rPr lang="da-DK" dirty="0">
                <a:solidFill>
                  <a:schemeClr val="bg1"/>
                </a:solidFill>
              </a:rPr>
              <a:t> in The </a:t>
            </a:r>
            <a:r>
              <a:rPr lang="da-DK" dirty="0" err="1">
                <a:solidFill>
                  <a:schemeClr val="bg1"/>
                </a:solidFill>
              </a:rPr>
              <a:t>Hague</a:t>
            </a:r>
            <a:endParaRPr lang="da-DK" dirty="0">
              <a:solidFill>
                <a:schemeClr val="bg1"/>
              </a:solidFill>
            </a:endParaRPr>
          </a:p>
          <a:p>
            <a:r>
              <a:rPr lang="da-DK" dirty="0">
                <a:solidFill>
                  <a:schemeClr val="bg1"/>
                </a:solidFill>
              </a:rPr>
              <a:t>March: global workshop in Copenhagen </a:t>
            </a:r>
          </a:p>
        </p:txBody>
      </p:sp>
      <p:pic>
        <p:nvPicPr>
          <p:cNvPr id="15" name="Billede 14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72264" y="5108556"/>
            <a:ext cx="3218077" cy="2276872"/>
          </a:xfrm>
          <a:prstGeom prst="rect">
            <a:avLst/>
          </a:prstGeom>
        </p:spPr>
      </p:pic>
      <p:pic>
        <p:nvPicPr>
          <p:cNvPr id="10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6513091" y="5913438"/>
            <a:ext cx="2059766" cy="796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010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351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ktangel med diagonalt afklippet hjørne 22"/>
          <p:cNvSpPr/>
          <p:nvPr/>
        </p:nvSpPr>
        <p:spPr bwMode="auto">
          <a:xfrm>
            <a:off x="701676" y="1449388"/>
            <a:ext cx="5111749" cy="4464050"/>
          </a:xfrm>
          <a:prstGeom prst="snip2DiagRect">
            <a:avLst/>
          </a:prstGeom>
          <a:solidFill>
            <a:srgbClr val="DBD9D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" name="Rektangel med diagonalt afklippet hjørne 2"/>
          <p:cNvSpPr/>
          <p:nvPr/>
        </p:nvSpPr>
        <p:spPr bwMode="auto">
          <a:xfrm>
            <a:off x="6375400" y="1449388"/>
            <a:ext cx="5111750" cy="4464050"/>
          </a:xfrm>
          <a:prstGeom prst="snip2Diag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24" name="Pladsholder til indhold 23"/>
          <p:cNvSpPr>
            <a:spLocks noGrp="1"/>
          </p:cNvSpPr>
          <p:nvPr>
            <p:ph sz="half" idx="1"/>
          </p:nvPr>
        </p:nvSpPr>
        <p:spPr/>
        <p:txBody>
          <a:bodyPr anchor="ctr" anchorCtr="1">
            <a:noAutofit/>
          </a:bodyPr>
          <a:lstStyle/>
          <a:p>
            <a:pPr marL="190800" lvl="1" indent="0">
              <a:buNone/>
            </a:pPr>
            <a:r>
              <a:rPr lang="da-DK" sz="1800" b="1" dirty="0">
                <a:solidFill>
                  <a:srgbClr val="003A63"/>
                </a:solidFill>
                <a:ea typeface="+mn-ea"/>
                <a:cs typeface="+mn-cs"/>
              </a:rPr>
              <a:t>	</a:t>
            </a:r>
            <a:r>
              <a:rPr lang="da-DK" sz="1800" dirty="0">
                <a:solidFill>
                  <a:srgbClr val="003A63"/>
                </a:solidFill>
                <a:ea typeface="+mn-ea"/>
                <a:cs typeface="+mn-cs"/>
              </a:rPr>
              <a:t>Maria Møller Kursch,                              	International </a:t>
            </a:r>
            <a:r>
              <a:rPr lang="en-US" sz="1800" dirty="0">
                <a:solidFill>
                  <a:srgbClr val="003A63"/>
                </a:solidFill>
                <a:ea typeface="+mn-ea"/>
                <a:cs typeface="+mn-cs"/>
              </a:rPr>
              <a:t>Coordinator</a:t>
            </a:r>
            <a:r>
              <a:rPr lang="da-DK" sz="1800" dirty="0">
                <a:solidFill>
                  <a:srgbClr val="003A63"/>
                </a:solidFill>
                <a:ea typeface="+mn-ea"/>
                <a:cs typeface="+mn-cs"/>
              </a:rPr>
              <a:t>                               	</a:t>
            </a:r>
            <a:r>
              <a:rPr lang="da-DK" sz="1800" i="1" dirty="0">
                <a:solidFill>
                  <a:srgbClr val="003A63"/>
                </a:solidFill>
                <a:ea typeface="+mn-ea"/>
                <a:cs typeface="+mn-cs"/>
              </a:rPr>
              <a:t>Agency for Public Finance and 	Management</a:t>
            </a:r>
            <a:r>
              <a:rPr lang="da-DK" sz="1800" dirty="0">
                <a:solidFill>
                  <a:srgbClr val="003A63"/>
                </a:solidFill>
                <a:ea typeface="+mn-ea"/>
                <a:cs typeface="+mn-cs"/>
              </a:rPr>
              <a:t>, </a:t>
            </a:r>
            <a:r>
              <a:rPr lang="da-DK" sz="1800" dirty="0">
                <a:solidFill>
                  <a:schemeClr val="bg1"/>
                </a:solidFill>
                <a:ea typeface="+mn-ea"/>
                <a:cs typeface="+mn-cs"/>
                <a:hlinkClick r:id="rId5"/>
              </a:rPr>
              <a:t>markur@oes.dk</a:t>
            </a:r>
            <a:endParaRPr lang="da-DK" sz="1800" dirty="0">
              <a:solidFill>
                <a:schemeClr val="bg1"/>
              </a:solidFill>
              <a:ea typeface="+mn-ea"/>
              <a:cs typeface="+mn-cs"/>
            </a:endParaRPr>
          </a:p>
          <a:p>
            <a:pPr marL="190800" lvl="1" indent="0">
              <a:buNone/>
            </a:pPr>
            <a:endParaRPr lang="da-DK" sz="1800" b="1" dirty="0">
              <a:solidFill>
                <a:schemeClr val="bg1"/>
              </a:solidFill>
              <a:ea typeface="+mn-ea"/>
              <a:cs typeface="+mn-cs"/>
            </a:endParaRPr>
          </a:p>
          <a:p>
            <a:pPr marL="226800" lvl="1" indent="-36000">
              <a:buNone/>
            </a:pPr>
            <a:r>
              <a:rPr lang="da-DK" sz="1800" b="1" dirty="0">
                <a:solidFill>
                  <a:srgbClr val="003A63"/>
                </a:solidFill>
              </a:rPr>
              <a:t>		</a:t>
            </a:r>
            <a:r>
              <a:rPr lang="da-DK" sz="1800" dirty="0">
                <a:solidFill>
                  <a:srgbClr val="003A63"/>
                </a:solidFill>
              </a:rPr>
              <a:t>Dutch-Danish PACE </a:t>
            </a:r>
            <a:r>
              <a:rPr lang="da-DK" sz="1800" dirty="0" err="1">
                <a:solidFill>
                  <a:srgbClr val="003A63"/>
                </a:solidFill>
              </a:rPr>
              <a:t>project</a:t>
            </a:r>
            <a:r>
              <a:rPr lang="da-DK" sz="1800" dirty="0">
                <a:solidFill>
                  <a:srgbClr val="003A63"/>
                </a:solidFill>
              </a:rPr>
              <a:t> – Green 	</a:t>
            </a:r>
            <a:r>
              <a:rPr lang="da-DK" sz="1800" dirty="0" err="1">
                <a:solidFill>
                  <a:srgbClr val="003A63"/>
                </a:solidFill>
              </a:rPr>
              <a:t>Governance</a:t>
            </a:r>
            <a:r>
              <a:rPr lang="da-DK" sz="1800" dirty="0">
                <a:solidFill>
                  <a:srgbClr val="003A63"/>
                </a:solidFill>
              </a:rPr>
              <a:t> </a:t>
            </a:r>
          </a:p>
          <a:p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2708" y="678400"/>
            <a:ext cx="10785475" cy="729738"/>
          </a:xfrm>
        </p:spPr>
        <p:txBody>
          <a:bodyPr vert="horz"/>
          <a:lstStyle/>
          <a:p>
            <a:r>
              <a:rPr lang="da-DK" sz="3200" b="1" dirty="0" err="1">
                <a:solidFill>
                  <a:srgbClr val="003A63"/>
                </a:solidFill>
              </a:rPr>
              <a:t>Introduction</a:t>
            </a:r>
            <a:r>
              <a:rPr lang="da-DK" sz="3200" b="1" dirty="0">
                <a:solidFill>
                  <a:srgbClr val="003A63"/>
                </a:solidFill>
              </a:rPr>
              <a:t> and Agenda </a:t>
            </a:r>
          </a:p>
        </p:txBody>
      </p:sp>
      <p:sp>
        <p:nvSpPr>
          <p:cNvPr id="17" name="Tekstfelt 16"/>
          <p:cNvSpPr txBox="1"/>
          <p:nvPr/>
        </p:nvSpPr>
        <p:spPr>
          <a:xfrm>
            <a:off x="1038391" y="1645198"/>
            <a:ext cx="504056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000" b="1" i="1" dirty="0" err="1">
                <a:solidFill>
                  <a:srgbClr val="003A63"/>
                </a:solidFill>
              </a:rPr>
              <a:t>Introduction</a:t>
            </a:r>
            <a:endParaRPr lang="da-DK" sz="2000" b="1" i="1" dirty="0">
              <a:solidFill>
                <a:srgbClr val="003A63"/>
              </a:solidFill>
            </a:endParaRPr>
          </a:p>
        </p:txBody>
      </p:sp>
      <p:sp>
        <p:nvSpPr>
          <p:cNvPr id="7" name="Pladsholder til indhold 6"/>
          <p:cNvSpPr>
            <a:spLocks noGrp="1"/>
          </p:cNvSpPr>
          <p:nvPr>
            <p:ph sz="half" idx="2"/>
          </p:nvPr>
        </p:nvSpPr>
        <p:spPr>
          <a:xfrm>
            <a:off x="6376183" y="1458275"/>
            <a:ext cx="5112000" cy="4464000"/>
          </a:xfrm>
          <a:effectLst/>
        </p:spPr>
        <p:txBody>
          <a:bodyPr lIns="0" rIns="0" anchor="ctr" anchorCtr="1">
            <a:normAutofit/>
          </a:bodyPr>
          <a:lstStyle/>
          <a:p>
            <a:pPr marL="0" indent="0">
              <a:lnSpc>
                <a:spcPct val="250000"/>
              </a:lnSpc>
              <a:buNone/>
            </a:pPr>
            <a:r>
              <a:rPr lang="da-DK" sz="1800" dirty="0">
                <a:solidFill>
                  <a:schemeClr val="bg1"/>
                </a:solidFill>
              </a:rPr>
              <a:t>How it </a:t>
            </a:r>
            <a:r>
              <a:rPr lang="da-DK" sz="1800" dirty="0" err="1">
                <a:solidFill>
                  <a:schemeClr val="bg1"/>
                </a:solidFill>
              </a:rPr>
              <a:t>started</a:t>
            </a:r>
            <a:endParaRPr lang="da-DK" sz="1800" dirty="0">
              <a:solidFill>
                <a:schemeClr val="bg1"/>
              </a:solidFill>
            </a:endParaRPr>
          </a:p>
          <a:p>
            <a:pPr marL="0" indent="0">
              <a:lnSpc>
                <a:spcPct val="250000"/>
              </a:lnSpc>
              <a:buNone/>
            </a:pPr>
            <a:r>
              <a:rPr lang="da-DK" sz="1800" dirty="0" err="1">
                <a:solidFill>
                  <a:schemeClr val="bg1"/>
                </a:solidFill>
              </a:rPr>
              <a:t>Our</a:t>
            </a:r>
            <a:r>
              <a:rPr lang="da-DK" sz="1800" dirty="0">
                <a:solidFill>
                  <a:schemeClr val="bg1"/>
                </a:solidFill>
              </a:rPr>
              <a:t> </a:t>
            </a:r>
            <a:r>
              <a:rPr lang="da-DK" sz="1800" dirty="0" err="1">
                <a:solidFill>
                  <a:schemeClr val="bg1"/>
                </a:solidFill>
              </a:rPr>
              <a:t>process</a:t>
            </a:r>
            <a:endParaRPr lang="da-DK" sz="1800" dirty="0">
              <a:solidFill>
                <a:schemeClr val="bg1"/>
              </a:solidFill>
            </a:endParaRPr>
          </a:p>
          <a:p>
            <a:pPr marL="0" indent="0">
              <a:lnSpc>
                <a:spcPct val="250000"/>
              </a:lnSpc>
              <a:buNone/>
            </a:pPr>
            <a:r>
              <a:rPr lang="da-DK" sz="1800" dirty="0">
                <a:solidFill>
                  <a:schemeClr val="bg1"/>
                </a:solidFill>
              </a:rPr>
              <a:t>Learning </a:t>
            </a:r>
            <a:r>
              <a:rPr lang="da-DK" sz="1800" dirty="0" err="1">
                <a:solidFill>
                  <a:schemeClr val="bg1"/>
                </a:solidFill>
              </a:rPr>
              <a:t>experience</a:t>
            </a:r>
            <a:endParaRPr lang="da-DK" sz="1800" dirty="0">
              <a:solidFill>
                <a:schemeClr val="bg1"/>
              </a:solidFill>
            </a:endParaRPr>
          </a:p>
          <a:p>
            <a:pPr marL="0" indent="0">
              <a:lnSpc>
                <a:spcPct val="250000"/>
              </a:lnSpc>
              <a:buNone/>
            </a:pPr>
            <a:r>
              <a:rPr lang="da-DK" sz="1800" dirty="0" err="1">
                <a:solidFill>
                  <a:schemeClr val="bg1"/>
                </a:solidFill>
              </a:rPr>
              <a:t>Next</a:t>
            </a:r>
            <a:r>
              <a:rPr lang="da-DK" sz="1800" dirty="0">
                <a:solidFill>
                  <a:schemeClr val="bg1"/>
                </a:solidFill>
              </a:rPr>
              <a:t> step</a:t>
            </a:r>
          </a:p>
          <a:p>
            <a:endParaRPr lang="da-DK" dirty="0"/>
          </a:p>
        </p:txBody>
      </p:sp>
      <p:sp>
        <p:nvSpPr>
          <p:cNvPr id="18" name="Tekstfelt 17"/>
          <p:cNvSpPr txBox="1"/>
          <p:nvPr/>
        </p:nvSpPr>
        <p:spPr>
          <a:xfrm>
            <a:off x="6744072" y="1645198"/>
            <a:ext cx="504056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000" b="1" i="1" dirty="0">
                <a:solidFill>
                  <a:schemeClr val="bg1"/>
                </a:solidFill>
              </a:rPr>
              <a:t>Agenda </a:t>
            </a:r>
          </a:p>
        </p:txBody>
      </p:sp>
      <p:pic>
        <p:nvPicPr>
          <p:cNvPr id="12" name="Billed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203" y="2980361"/>
            <a:ext cx="432544" cy="434475"/>
          </a:xfrm>
          <a:prstGeom prst="rect">
            <a:avLst/>
          </a:prstGeom>
        </p:spPr>
      </p:pic>
      <p:pic>
        <p:nvPicPr>
          <p:cNvPr id="20" name="Billed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203" y="4621098"/>
            <a:ext cx="432544" cy="434475"/>
          </a:xfrm>
          <a:prstGeom prst="rect">
            <a:avLst/>
          </a:prstGeom>
        </p:spPr>
      </p:pic>
      <p:pic>
        <p:nvPicPr>
          <p:cNvPr id="22" name="Billede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132" y="3732516"/>
            <a:ext cx="541957" cy="544376"/>
          </a:xfrm>
          <a:prstGeom prst="rect">
            <a:avLst/>
          </a:prstGeom>
        </p:spPr>
      </p:pic>
      <p:pic>
        <p:nvPicPr>
          <p:cNvPr id="27" name="Billede 2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418" y="4004704"/>
            <a:ext cx="567667" cy="567667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679" y="2723963"/>
            <a:ext cx="567406" cy="567406"/>
          </a:xfrm>
          <a:prstGeom prst="rect">
            <a:avLst/>
          </a:prstGeom>
        </p:spPr>
      </p:pic>
      <p:pic>
        <p:nvPicPr>
          <p:cNvPr id="19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7104112" y="5944672"/>
            <a:ext cx="2059766" cy="73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1397" y="2151369"/>
            <a:ext cx="374137" cy="374137"/>
          </a:xfrm>
          <a:prstGeom prst="rect">
            <a:avLst/>
          </a:prstGeom>
        </p:spPr>
      </p:pic>
      <p:grpSp>
        <p:nvGrpSpPr>
          <p:cNvPr id="14" name="Gruppe 13"/>
          <p:cNvGrpSpPr/>
          <p:nvPr/>
        </p:nvGrpSpPr>
        <p:grpSpPr>
          <a:xfrm>
            <a:off x="182283" y="170804"/>
            <a:ext cx="11855754" cy="233362"/>
            <a:chOff x="182283" y="170804"/>
            <a:chExt cx="11855754" cy="233362"/>
          </a:xfrm>
        </p:grpSpPr>
        <p:sp>
          <p:nvSpPr>
            <p:cNvPr id="15" name="Kombinationstegning 14"/>
            <p:cNvSpPr/>
            <p:nvPr/>
          </p:nvSpPr>
          <p:spPr>
            <a:xfrm>
              <a:off x="182283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b="1" kern="1200" dirty="0" err="1">
                  <a:solidFill>
                    <a:srgbClr val="3B5463"/>
                  </a:solidFill>
                </a:rPr>
                <a:t>Introduction</a:t>
              </a:r>
              <a:r>
                <a:rPr lang="da-DK" sz="1200" b="1" kern="1200" dirty="0">
                  <a:solidFill>
                    <a:srgbClr val="3B5463"/>
                  </a:solidFill>
                </a:rPr>
                <a:t> and Agenda</a:t>
              </a:r>
            </a:p>
          </p:txBody>
        </p:sp>
        <p:sp>
          <p:nvSpPr>
            <p:cNvPr id="16" name="Kombinationstegning 15"/>
            <p:cNvSpPr/>
            <p:nvPr/>
          </p:nvSpPr>
          <p:spPr>
            <a:xfrm>
              <a:off x="2501320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How it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started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21" name="Kombinationstegning 20"/>
            <p:cNvSpPr/>
            <p:nvPr/>
          </p:nvSpPr>
          <p:spPr>
            <a:xfrm>
              <a:off x="4820358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Our</a:t>
              </a:r>
              <a:r>
                <a:rPr lang="da-DK" sz="1200" kern="1200" dirty="0">
                  <a:solidFill>
                    <a:srgbClr val="3B5463"/>
                  </a:solidFill>
                </a:rPr>
                <a:t>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process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25" name="Kombinationstegning 24"/>
            <p:cNvSpPr/>
            <p:nvPr/>
          </p:nvSpPr>
          <p:spPr>
            <a:xfrm>
              <a:off x="7139396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Learning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experience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26" name="Kombinationstegning 25"/>
            <p:cNvSpPr/>
            <p:nvPr/>
          </p:nvSpPr>
          <p:spPr>
            <a:xfrm>
              <a:off x="9461329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Next</a:t>
              </a:r>
              <a:r>
                <a:rPr lang="da-DK" sz="1200" kern="1200" dirty="0">
                  <a:solidFill>
                    <a:srgbClr val="3B5463"/>
                  </a:solidFill>
                </a:rPr>
                <a:t> ste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8590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456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714611" y="526397"/>
            <a:ext cx="10785475" cy="936000"/>
          </a:xfrm>
        </p:spPr>
        <p:txBody>
          <a:bodyPr vert="horz"/>
          <a:lstStyle/>
          <a:p>
            <a:r>
              <a:rPr lang="da-DK" b="1" dirty="0" err="1"/>
              <a:t>Netherlands</a:t>
            </a:r>
            <a:r>
              <a:rPr lang="da-DK" b="1" dirty="0"/>
              <a:t> and Denmark have </a:t>
            </a:r>
            <a:r>
              <a:rPr lang="da-DK" b="1" dirty="0" err="1"/>
              <a:t>many</a:t>
            </a:r>
            <a:r>
              <a:rPr lang="da-DK" b="1" dirty="0"/>
              <a:t> </a:t>
            </a:r>
            <a:r>
              <a:rPr lang="da-DK" b="1" dirty="0" err="1"/>
              <a:t>shared</a:t>
            </a:r>
            <a:r>
              <a:rPr lang="da-DK" b="1" dirty="0"/>
              <a:t> </a:t>
            </a:r>
            <a:r>
              <a:rPr lang="da-DK" b="1" dirty="0" err="1"/>
              <a:t>interests</a:t>
            </a:r>
            <a:r>
              <a:rPr lang="da-DK" b="1" dirty="0"/>
              <a:t> and </a:t>
            </a:r>
            <a:r>
              <a:rPr lang="da-DK" b="1" dirty="0" err="1"/>
              <a:t>challenges</a:t>
            </a:r>
            <a:endParaRPr lang="da-DK" b="1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15" name="Billede 14"/>
          <p:cNvPicPr>
            <a:picLocks noChangeAspect="1"/>
          </p:cNvPicPr>
          <p:nvPr/>
        </p:nvPicPr>
        <p:blipFill rotWithShape="1">
          <a:blip r:embed="rId5"/>
          <a:srcRect/>
          <a:stretch/>
        </p:blipFill>
        <p:spPr>
          <a:xfrm>
            <a:off x="3359696" y="1449388"/>
            <a:ext cx="5467130" cy="4203141"/>
          </a:xfrm>
          <a:prstGeom prst="rect">
            <a:avLst/>
          </a:prstGeom>
        </p:spPr>
      </p:pic>
      <p:pic>
        <p:nvPicPr>
          <p:cNvPr id="16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7104112" y="5944672"/>
            <a:ext cx="2059766" cy="73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4" name="Gruppe 43"/>
          <p:cNvGrpSpPr/>
          <p:nvPr/>
        </p:nvGrpSpPr>
        <p:grpSpPr>
          <a:xfrm>
            <a:off x="182283" y="170804"/>
            <a:ext cx="11855754" cy="233362"/>
            <a:chOff x="182283" y="170804"/>
            <a:chExt cx="11855754" cy="233362"/>
          </a:xfrm>
        </p:grpSpPr>
        <p:sp>
          <p:nvSpPr>
            <p:cNvPr id="45" name="Kombinationstegning 44"/>
            <p:cNvSpPr/>
            <p:nvPr/>
          </p:nvSpPr>
          <p:spPr>
            <a:xfrm>
              <a:off x="182283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Introduction</a:t>
              </a:r>
              <a:r>
                <a:rPr lang="da-DK" sz="1200" kern="1200" dirty="0">
                  <a:solidFill>
                    <a:srgbClr val="3B5463"/>
                  </a:solidFill>
                </a:rPr>
                <a:t> and Agenda</a:t>
              </a:r>
            </a:p>
          </p:txBody>
        </p:sp>
        <p:sp>
          <p:nvSpPr>
            <p:cNvPr id="46" name="Kombinationstegning 45"/>
            <p:cNvSpPr/>
            <p:nvPr/>
          </p:nvSpPr>
          <p:spPr>
            <a:xfrm>
              <a:off x="2501320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b="1" kern="1200" dirty="0">
                  <a:solidFill>
                    <a:srgbClr val="3B5463"/>
                  </a:solidFill>
                </a:rPr>
                <a:t>How it </a:t>
              </a:r>
              <a:r>
                <a:rPr lang="da-DK" sz="1200" b="1" kern="1200" dirty="0" err="1">
                  <a:solidFill>
                    <a:srgbClr val="3B5463"/>
                  </a:solidFill>
                </a:rPr>
                <a:t>started</a:t>
              </a:r>
              <a:endParaRPr lang="da-DK" sz="1200" b="1" kern="1200" dirty="0">
                <a:solidFill>
                  <a:srgbClr val="3B5463"/>
                </a:solidFill>
              </a:endParaRPr>
            </a:p>
          </p:txBody>
        </p:sp>
        <p:sp>
          <p:nvSpPr>
            <p:cNvPr id="47" name="Kombinationstegning 46"/>
            <p:cNvSpPr/>
            <p:nvPr/>
          </p:nvSpPr>
          <p:spPr>
            <a:xfrm>
              <a:off x="4820358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Our</a:t>
              </a:r>
              <a:r>
                <a:rPr lang="da-DK" sz="1200" kern="1200" dirty="0">
                  <a:solidFill>
                    <a:srgbClr val="3B5463"/>
                  </a:solidFill>
                </a:rPr>
                <a:t>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process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48" name="Kombinationstegning 47"/>
            <p:cNvSpPr/>
            <p:nvPr/>
          </p:nvSpPr>
          <p:spPr>
            <a:xfrm>
              <a:off x="7139396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Learning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experience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49" name="Kombinationstegning 48"/>
            <p:cNvSpPr/>
            <p:nvPr/>
          </p:nvSpPr>
          <p:spPr>
            <a:xfrm>
              <a:off x="9461329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Next</a:t>
              </a:r>
              <a:r>
                <a:rPr lang="da-DK" sz="1200" kern="1200" dirty="0">
                  <a:solidFill>
                    <a:srgbClr val="3B5463"/>
                  </a:solidFill>
                </a:rPr>
                <a:t> ste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15761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120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1675" y="501456"/>
            <a:ext cx="10785475" cy="936000"/>
          </a:xfrm>
        </p:spPr>
        <p:txBody>
          <a:bodyPr vert="horz"/>
          <a:lstStyle/>
          <a:p>
            <a:r>
              <a:rPr lang="da-DK" sz="3200" b="1" dirty="0" err="1">
                <a:solidFill>
                  <a:srgbClr val="003A63"/>
                </a:solidFill>
              </a:rPr>
              <a:t>What</a:t>
            </a:r>
            <a:r>
              <a:rPr lang="da-DK" sz="3200" b="1" dirty="0">
                <a:solidFill>
                  <a:srgbClr val="003A63"/>
                </a:solidFill>
              </a:rPr>
              <a:t> </a:t>
            </a:r>
            <a:r>
              <a:rPr lang="da-DK" sz="3200" b="1" dirty="0" err="1">
                <a:solidFill>
                  <a:srgbClr val="003A63"/>
                </a:solidFill>
              </a:rPr>
              <a:t>are</a:t>
            </a:r>
            <a:r>
              <a:rPr lang="da-DK" sz="3200" b="1" dirty="0">
                <a:solidFill>
                  <a:srgbClr val="003A63"/>
                </a:solidFill>
              </a:rPr>
              <a:t> the </a:t>
            </a:r>
            <a:r>
              <a:rPr lang="da-DK" sz="3200" b="1" dirty="0" err="1">
                <a:solidFill>
                  <a:srgbClr val="003A63"/>
                </a:solidFill>
              </a:rPr>
              <a:t>outcomes</a:t>
            </a:r>
            <a:r>
              <a:rPr lang="da-DK" sz="3200" b="1" dirty="0">
                <a:solidFill>
                  <a:srgbClr val="003A63"/>
                </a:solidFill>
              </a:rPr>
              <a:t> of a succesful </a:t>
            </a:r>
            <a:r>
              <a:rPr lang="da-DK" sz="3200" b="1" dirty="0" err="1">
                <a:solidFill>
                  <a:srgbClr val="003A63"/>
                </a:solidFill>
              </a:rPr>
              <a:t>collaboration</a:t>
            </a:r>
            <a:r>
              <a:rPr lang="da-DK" sz="3200" b="1" dirty="0">
                <a:solidFill>
                  <a:srgbClr val="003A63"/>
                </a:solidFill>
              </a:rPr>
              <a:t>?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13" name="Billed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1387338" y="1445024"/>
            <a:ext cx="1070248" cy="1041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ktangel 15"/>
          <p:cNvSpPr/>
          <p:nvPr/>
        </p:nvSpPr>
        <p:spPr bwMode="auto">
          <a:xfrm>
            <a:off x="701675" y="2527954"/>
            <a:ext cx="2441575" cy="873346"/>
          </a:xfrm>
          <a:prstGeom prst="rect">
            <a:avLst/>
          </a:prstGeom>
          <a:solidFill>
            <a:srgbClr val="B3E8C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600" dirty="0" err="1">
                <a:solidFill>
                  <a:srgbClr val="3B5463"/>
                </a:solidFill>
              </a:rPr>
              <a:t>Finding</a:t>
            </a:r>
            <a:r>
              <a:rPr lang="da-DK" sz="1600" dirty="0">
                <a:solidFill>
                  <a:srgbClr val="3B5463"/>
                </a:solidFill>
              </a:rPr>
              <a:t> and </a:t>
            </a:r>
            <a:r>
              <a:rPr lang="da-DK" sz="1600" dirty="0" err="1">
                <a:solidFill>
                  <a:srgbClr val="3B5463"/>
                </a:solidFill>
              </a:rPr>
              <a:t>exchanging</a:t>
            </a:r>
            <a:r>
              <a:rPr lang="da-DK" sz="1600" dirty="0">
                <a:solidFill>
                  <a:srgbClr val="3B5463"/>
                </a:solidFill>
              </a:rPr>
              <a:t> </a:t>
            </a:r>
            <a:r>
              <a:rPr lang="da-DK" sz="1600" dirty="0" err="1">
                <a:solidFill>
                  <a:srgbClr val="3B5463"/>
                </a:solidFill>
              </a:rPr>
              <a:t>transferable</a:t>
            </a:r>
            <a:r>
              <a:rPr lang="da-DK" sz="1600" dirty="0">
                <a:solidFill>
                  <a:srgbClr val="3B5463"/>
                </a:solidFill>
              </a:rPr>
              <a:t> solutions </a:t>
            </a:r>
            <a:endParaRPr kumimoji="0" lang="da-DK" sz="1600" b="0" i="0" u="none" strike="noStrike" cap="none" normalizeH="0" baseline="0" dirty="0">
              <a:ln>
                <a:noFill/>
              </a:ln>
              <a:solidFill>
                <a:srgbClr val="3B5463"/>
              </a:solidFill>
              <a:effectLst/>
            </a:endParaRPr>
          </a:p>
        </p:txBody>
      </p:sp>
      <p:sp>
        <p:nvSpPr>
          <p:cNvPr id="19" name="Rektangel 18"/>
          <p:cNvSpPr/>
          <p:nvPr/>
        </p:nvSpPr>
        <p:spPr bwMode="auto">
          <a:xfrm>
            <a:off x="8616279" y="1449388"/>
            <a:ext cx="2870869" cy="2195636"/>
          </a:xfrm>
          <a:prstGeom prst="rect">
            <a:avLst/>
          </a:prstGeom>
          <a:solidFill>
            <a:srgbClr val="D5C7BA">
              <a:alpha val="31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sz="1400" i="1" dirty="0" err="1">
                <a:solidFill>
                  <a:srgbClr val="3B5463"/>
                </a:solidFill>
              </a:rPr>
              <a:t>Forming</a:t>
            </a:r>
            <a:r>
              <a:rPr lang="da-DK" sz="1400" i="1" dirty="0">
                <a:solidFill>
                  <a:srgbClr val="3B5463"/>
                </a:solidFill>
              </a:rPr>
              <a:t> long term </a:t>
            </a:r>
            <a:r>
              <a:rPr lang="da-DK" sz="1400" i="1" dirty="0" err="1">
                <a:solidFill>
                  <a:srgbClr val="3B5463"/>
                </a:solidFill>
              </a:rPr>
              <a:t>networks</a:t>
            </a:r>
            <a:r>
              <a:rPr lang="da-DK" sz="1400" i="1" dirty="0">
                <a:solidFill>
                  <a:srgbClr val="3B5463"/>
                </a:solidFill>
              </a:rPr>
              <a:t> for future </a:t>
            </a:r>
            <a:r>
              <a:rPr lang="da-DK" sz="1400" i="1" dirty="0" err="1">
                <a:solidFill>
                  <a:srgbClr val="3B5463"/>
                </a:solidFill>
              </a:rPr>
              <a:t>knowledge</a:t>
            </a:r>
            <a:r>
              <a:rPr lang="da-DK" sz="1400" i="1" dirty="0">
                <a:solidFill>
                  <a:srgbClr val="3B5463"/>
                </a:solidFill>
              </a:rPr>
              <a:t> </a:t>
            </a:r>
            <a:r>
              <a:rPr lang="da-DK" sz="1400" i="1" dirty="0" err="1">
                <a:solidFill>
                  <a:srgbClr val="3B5463"/>
                </a:solidFill>
              </a:rPr>
              <a:t>exchange</a:t>
            </a:r>
            <a:endParaRPr lang="da-DK" sz="1400" i="1" dirty="0">
              <a:solidFill>
                <a:srgbClr val="3B5463"/>
              </a:solidFill>
            </a:endParaRPr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sz="1400" i="1" dirty="0" err="1">
                <a:solidFill>
                  <a:srgbClr val="3B5463"/>
                </a:solidFill>
              </a:rPr>
              <a:t>Expand</a:t>
            </a:r>
            <a:r>
              <a:rPr lang="da-DK" sz="1400" i="1" dirty="0">
                <a:solidFill>
                  <a:srgbClr val="3B5463"/>
                </a:solidFill>
              </a:rPr>
              <a:t> </a:t>
            </a:r>
            <a:r>
              <a:rPr kumimoji="0" lang="da-DK" sz="1400" b="0" i="1" u="none" strike="noStrike" cap="none" normalizeH="0" baseline="0" dirty="0" err="1">
                <a:ln>
                  <a:noFill/>
                </a:ln>
                <a:solidFill>
                  <a:srgbClr val="3B5463"/>
                </a:solidFill>
                <a:effectLst/>
              </a:rPr>
              <a:t>understanding</a:t>
            </a:r>
            <a:r>
              <a:rPr kumimoji="0" lang="da-DK" sz="1400" b="0" i="1" u="none" strike="noStrike" cap="none" normalizeH="0" baseline="0" dirty="0">
                <a:ln>
                  <a:noFill/>
                </a:ln>
                <a:solidFill>
                  <a:srgbClr val="3B5463"/>
                </a:solidFill>
                <a:effectLst/>
              </a:rPr>
              <a:t> of partner </a:t>
            </a:r>
            <a:r>
              <a:rPr kumimoji="0" lang="da-DK" sz="1400" b="0" i="1" u="none" strike="noStrike" cap="none" normalizeH="0" baseline="0" dirty="0" err="1">
                <a:ln>
                  <a:noFill/>
                </a:ln>
                <a:solidFill>
                  <a:srgbClr val="3B5463"/>
                </a:solidFill>
                <a:effectLst/>
              </a:rPr>
              <a:t>country’s</a:t>
            </a:r>
            <a:r>
              <a:rPr kumimoji="0" lang="da-DK" sz="1400" b="0" i="1" u="none" strike="noStrike" cap="none" normalizeH="0" baseline="0" dirty="0">
                <a:ln>
                  <a:noFill/>
                </a:ln>
                <a:solidFill>
                  <a:srgbClr val="3B5463"/>
                </a:solidFill>
                <a:effectLst/>
              </a:rPr>
              <a:t> system</a:t>
            </a:r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da-DK" sz="1400" i="1" dirty="0" err="1">
                <a:solidFill>
                  <a:srgbClr val="3B5463"/>
                </a:solidFill>
              </a:rPr>
              <a:t>Deepen</a:t>
            </a:r>
            <a:r>
              <a:rPr lang="da-DK" sz="1400" i="1" dirty="0">
                <a:solidFill>
                  <a:srgbClr val="3B5463"/>
                </a:solidFill>
              </a:rPr>
              <a:t> </a:t>
            </a:r>
            <a:r>
              <a:rPr lang="da-DK" sz="1400" i="1" dirty="0" err="1">
                <a:solidFill>
                  <a:srgbClr val="3B5463"/>
                </a:solidFill>
              </a:rPr>
              <a:t>understanding</a:t>
            </a:r>
            <a:r>
              <a:rPr lang="da-DK" sz="1400" i="1" dirty="0">
                <a:solidFill>
                  <a:srgbClr val="3B5463"/>
                </a:solidFill>
              </a:rPr>
              <a:t> of </a:t>
            </a:r>
            <a:r>
              <a:rPr lang="da-DK" sz="1400" i="1" dirty="0" err="1">
                <a:solidFill>
                  <a:srgbClr val="3B5463"/>
                </a:solidFill>
              </a:rPr>
              <a:t>own</a:t>
            </a:r>
            <a:r>
              <a:rPr lang="da-DK" sz="1400" i="1" dirty="0">
                <a:solidFill>
                  <a:srgbClr val="3B5463"/>
                </a:solidFill>
              </a:rPr>
              <a:t> system</a:t>
            </a:r>
            <a:r>
              <a:rPr kumimoji="0" lang="da-DK" sz="1400" b="0" i="1" u="none" strike="noStrike" cap="none" normalizeH="0" baseline="0" dirty="0">
                <a:ln>
                  <a:noFill/>
                </a:ln>
                <a:solidFill>
                  <a:srgbClr val="3B5463"/>
                </a:solidFill>
                <a:effectLst/>
              </a:rPr>
              <a:t> </a:t>
            </a:r>
          </a:p>
        </p:txBody>
      </p:sp>
      <p:sp>
        <p:nvSpPr>
          <p:cNvPr id="24" name="Tekstfelt 23"/>
          <p:cNvSpPr txBox="1"/>
          <p:nvPr/>
        </p:nvSpPr>
        <p:spPr>
          <a:xfrm>
            <a:off x="8679542" y="1464524"/>
            <a:ext cx="137217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i="1" dirty="0" err="1">
                <a:solidFill>
                  <a:srgbClr val="3B5463"/>
                </a:solidFill>
              </a:rPr>
              <a:t>Other</a:t>
            </a:r>
            <a:r>
              <a:rPr lang="da-DK" sz="1400" b="1" i="1" dirty="0"/>
              <a:t> </a:t>
            </a:r>
            <a:r>
              <a:rPr lang="da-DK" sz="1400" b="1" i="1" dirty="0" err="1">
                <a:solidFill>
                  <a:srgbClr val="3B5463"/>
                </a:solidFill>
              </a:rPr>
              <a:t>outcomes</a:t>
            </a:r>
            <a:endParaRPr lang="da-DK" sz="1400" b="1" i="1" dirty="0">
              <a:solidFill>
                <a:srgbClr val="3B5463"/>
              </a:solidFill>
            </a:endParaRPr>
          </a:p>
        </p:txBody>
      </p:sp>
      <p:grpSp>
        <p:nvGrpSpPr>
          <p:cNvPr id="3" name="Gruppe 2"/>
          <p:cNvGrpSpPr/>
          <p:nvPr/>
        </p:nvGrpSpPr>
        <p:grpSpPr>
          <a:xfrm>
            <a:off x="6174704" y="3665845"/>
            <a:ext cx="2441575" cy="2100806"/>
            <a:chOff x="6149924" y="3792495"/>
            <a:chExt cx="2441575" cy="210080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" name="Rektangel 17"/>
            <p:cNvSpPr/>
            <p:nvPr/>
          </p:nvSpPr>
          <p:spPr bwMode="auto">
            <a:xfrm>
              <a:off x="6149924" y="5019774"/>
              <a:ext cx="2441575" cy="873527"/>
            </a:xfrm>
            <a:prstGeom prst="rect">
              <a:avLst/>
            </a:prstGeom>
            <a:solidFill>
              <a:srgbClr val="B3E8CA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6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Finding</a:t>
              </a:r>
              <a:r>
                <a:rPr kumimoji="0" lang="da-DK" sz="16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 </a:t>
              </a:r>
              <a:r>
                <a:rPr kumimoji="0" lang="da-DK" sz="16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shared</a:t>
              </a:r>
              <a:r>
                <a:rPr kumimoji="0" lang="da-DK" sz="16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 </a:t>
              </a:r>
              <a:r>
                <a:rPr kumimoji="0" lang="da-DK" sz="16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challenges</a:t>
              </a:r>
              <a:r>
                <a:rPr kumimoji="0" lang="da-DK" sz="16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 and brainstorming</a:t>
              </a:r>
              <a:r>
                <a:rPr kumimoji="0" lang="da-DK" sz="1600" b="0" i="0" u="none" strike="noStrike" cap="none" normalizeH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 solutions </a:t>
              </a:r>
              <a:endParaRPr kumimoji="0" lang="da-DK" sz="1600" b="0" i="0" u="none" strike="noStrike" cap="none" normalizeH="0" baseline="0" dirty="0">
                <a:ln>
                  <a:noFill/>
                </a:ln>
                <a:solidFill>
                  <a:srgbClr val="3B5463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Billede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2622" y="3792495"/>
              <a:ext cx="1336597" cy="1300902"/>
            </a:xfrm>
            <a:prstGeom prst="rect">
              <a:avLst/>
            </a:prstGeom>
          </p:spPr>
        </p:pic>
      </p:grpSp>
      <p:sp>
        <p:nvSpPr>
          <p:cNvPr id="17" name="Rektangel 16"/>
          <p:cNvSpPr/>
          <p:nvPr/>
        </p:nvSpPr>
        <p:spPr bwMode="auto">
          <a:xfrm>
            <a:off x="3437767" y="3767631"/>
            <a:ext cx="2441997" cy="873527"/>
          </a:xfrm>
          <a:prstGeom prst="rect">
            <a:avLst/>
          </a:prstGeom>
          <a:solidFill>
            <a:srgbClr val="B3E8C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600" dirty="0" err="1">
                <a:solidFill>
                  <a:srgbClr val="3B5463"/>
                </a:solidFill>
              </a:rPr>
              <a:t>Finding</a:t>
            </a:r>
            <a:r>
              <a:rPr lang="da-DK" sz="1600" dirty="0">
                <a:solidFill>
                  <a:srgbClr val="3B5463"/>
                </a:solidFill>
              </a:rPr>
              <a:t> </a:t>
            </a:r>
            <a:r>
              <a:rPr lang="da-DK" sz="1600" dirty="0" err="1">
                <a:solidFill>
                  <a:srgbClr val="3B5463"/>
                </a:solidFill>
              </a:rPr>
              <a:t>different</a:t>
            </a:r>
            <a:r>
              <a:rPr lang="da-DK" sz="1600" dirty="0">
                <a:solidFill>
                  <a:srgbClr val="3B5463"/>
                </a:solidFill>
              </a:rPr>
              <a:t> </a:t>
            </a:r>
            <a:r>
              <a:rPr lang="da-DK" sz="1600" dirty="0" err="1">
                <a:solidFill>
                  <a:srgbClr val="3B5463"/>
                </a:solidFill>
              </a:rPr>
              <a:t>levels</a:t>
            </a:r>
            <a:r>
              <a:rPr lang="da-DK" sz="1600" dirty="0">
                <a:solidFill>
                  <a:srgbClr val="3B5463"/>
                </a:solidFill>
              </a:rPr>
              <a:t> of </a:t>
            </a:r>
            <a:r>
              <a:rPr lang="da-DK" sz="1600" dirty="0" err="1">
                <a:solidFill>
                  <a:srgbClr val="3B5463"/>
                </a:solidFill>
              </a:rPr>
              <a:t>maturity</a:t>
            </a:r>
            <a:r>
              <a:rPr lang="da-DK" sz="1600" dirty="0">
                <a:solidFill>
                  <a:srgbClr val="3B5463"/>
                </a:solidFill>
              </a:rPr>
              <a:t> and </a:t>
            </a:r>
            <a:r>
              <a:rPr lang="da-DK" sz="1600" dirty="0" err="1">
                <a:solidFill>
                  <a:srgbClr val="3B5463"/>
                </a:solidFill>
              </a:rPr>
              <a:t>adapting</a:t>
            </a:r>
            <a:r>
              <a:rPr lang="da-DK" sz="1600" dirty="0">
                <a:solidFill>
                  <a:srgbClr val="3B5463"/>
                </a:solidFill>
              </a:rPr>
              <a:t> solutions</a:t>
            </a:r>
            <a:endParaRPr kumimoji="0" lang="da-DK" sz="1600" b="0" i="0" u="none" strike="noStrike" cap="none" normalizeH="0" baseline="0" dirty="0">
              <a:ln>
                <a:noFill/>
              </a:ln>
              <a:solidFill>
                <a:srgbClr val="3B5463"/>
              </a:solidFill>
              <a:effectLst/>
            </a:endParaRPr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466" y="2527954"/>
            <a:ext cx="1336597" cy="13009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7104112" y="5944672"/>
            <a:ext cx="2059766" cy="73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e 14"/>
          <p:cNvGrpSpPr/>
          <p:nvPr/>
        </p:nvGrpSpPr>
        <p:grpSpPr>
          <a:xfrm>
            <a:off x="182283" y="170804"/>
            <a:ext cx="11855754" cy="233362"/>
            <a:chOff x="182283" y="170804"/>
            <a:chExt cx="11855754" cy="233362"/>
          </a:xfrm>
        </p:grpSpPr>
        <p:sp>
          <p:nvSpPr>
            <p:cNvPr id="21" name="Kombinationstegning 20"/>
            <p:cNvSpPr/>
            <p:nvPr/>
          </p:nvSpPr>
          <p:spPr>
            <a:xfrm>
              <a:off x="182283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Introduction</a:t>
              </a:r>
              <a:r>
                <a:rPr lang="da-DK" sz="1200" kern="1200" dirty="0">
                  <a:solidFill>
                    <a:srgbClr val="3B5463"/>
                  </a:solidFill>
                </a:rPr>
                <a:t> and Agenda</a:t>
              </a:r>
            </a:p>
          </p:txBody>
        </p:sp>
        <p:sp>
          <p:nvSpPr>
            <p:cNvPr id="22" name="Kombinationstegning 21"/>
            <p:cNvSpPr/>
            <p:nvPr/>
          </p:nvSpPr>
          <p:spPr>
            <a:xfrm>
              <a:off x="2501320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b="1" kern="1200" dirty="0">
                  <a:solidFill>
                    <a:srgbClr val="3B5463"/>
                  </a:solidFill>
                </a:rPr>
                <a:t>How it </a:t>
              </a:r>
              <a:r>
                <a:rPr lang="da-DK" sz="1200" b="1" kern="1200" dirty="0" err="1">
                  <a:solidFill>
                    <a:srgbClr val="3B5463"/>
                  </a:solidFill>
                </a:rPr>
                <a:t>started</a:t>
              </a:r>
              <a:endParaRPr lang="da-DK" sz="1200" b="1" kern="1200" dirty="0">
                <a:solidFill>
                  <a:srgbClr val="3B5463"/>
                </a:solidFill>
              </a:endParaRPr>
            </a:p>
          </p:txBody>
        </p:sp>
        <p:sp>
          <p:nvSpPr>
            <p:cNvPr id="23" name="Kombinationstegning 22"/>
            <p:cNvSpPr/>
            <p:nvPr/>
          </p:nvSpPr>
          <p:spPr>
            <a:xfrm>
              <a:off x="4820358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Our</a:t>
              </a:r>
              <a:r>
                <a:rPr lang="da-DK" sz="1200" kern="1200" dirty="0">
                  <a:solidFill>
                    <a:srgbClr val="3B5463"/>
                  </a:solidFill>
                </a:rPr>
                <a:t>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process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25" name="Kombinationstegning 24"/>
            <p:cNvSpPr/>
            <p:nvPr/>
          </p:nvSpPr>
          <p:spPr>
            <a:xfrm>
              <a:off x="7139396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Learning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experience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26" name="Kombinationstegning 25"/>
            <p:cNvSpPr/>
            <p:nvPr/>
          </p:nvSpPr>
          <p:spPr>
            <a:xfrm>
              <a:off x="9461329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Next</a:t>
              </a:r>
              <a:r>
                <a:rPr lang="da-DK" sz="1200" kern="1200" dirty="0">
                  <a:solidFill>
                    <a:srgbClr val="3B5463"/>
                  </a:solidFill>
                </a:rPr>
                <a:t> ste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73730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90423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ontent Placeholder 5"/>
          <p:cNvPicPr>
            <a:picLocks noGrp="1" noChangeAspect="1"/>
          </p:cNvPicPr>
          <p:nvPr>
            <p:ph sz="half" idx="1"/>
            <p:custDataLst>
              <p:tags r:id="rId4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0" r="11830"/>
          <a:stretch/>
        </p:blipFill>
        <p:spPr>
          <a:xfrm>
            <a:off x="701676" y="1450800"/>
            <a:ext cx="5111750" cy="44640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5A01CB-28B7-49AE-B511-D6198421D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04E9715-234A-4918-8F1C-77B1A4A8F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676" y="499889"/>
            <a:ext cx="10775164" cy="936000"/>
          </a:xfrm>
        </p:spPr>
        <p:txBody>
          <a:bodyPr vert="horz"/>
          <a:lstStyle/>
          <a:p>
            <a:r>
              <a:rPr lang="en-GB" sz="3200" b="1" dirty="0">
                <a:solidFill>
                  <a:srgbClr val="003A63"/>
                </a:solidFill>
              </a:rPr>
              <a:t>Opening the green black box</a:t>
            </a:r>
          </a:p>
        </p:txBody>
      </p:sp>
      <p:sp>
        <p:nvSpPr>
          <p:cNvPr id="16" name="Pladsholder til indhold 15"/>
          <p:cNvSpPr>
            <a:spLocks noGrp="1"/>
          </p:cNvSpPr>
          <p:nvPr>
            <p:ph sz="half" idx="2"/>
          </p:nvPr>
        </p:nvSpPr>
        <p:spPr bwMode="auto">
          <a:xfrm>
            <a:off x="6375400" y="1450800"/>
            <a:ext cx="5101440" cy="4464050"/>
          </a:xfrm>
          <a:prstGeom prst="snip2Diag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400"/>
              </a:spcBef>
              <a:buClr>
                <a:schemeClr val="bg1"/>
              </a:buClr>
            </a:pPr>
            <a:r>
              <a:rPr lang="da-DK" sz="2000" dirty="0">
                <a:solidFill>
                  <a:schemeClr val="bg1"/>
                </a:solidFill>
              </a:rPr>
              <a:t>How </a:t>
            </a:r>
            <a:r>
              <a:rPr lang="da-DK" sz="2000" dirty="0" err="1">
                <a:solidFill>
                  <a:schemeClr val="bg1"/>
                </a:solidFill>
              </a:rPr>
              <a:t>are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our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countries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organised</a:t>
            </a:r>
            <a:r>
              <a:rPr lang="da-DK" sz="2000" dirty="0">
                <a:solidFill>
                  <a:schemeClr val="bg1"/>
                </a:solidFill>
              </a:rPr>
              <a:t>?</a:t>
            </a:r>
          </a:p>
          <a:p>
            <a:pPr>
              <a:spcBef>
                <a:spcPts val="2400"/>
              </a:spcBef>
              <a:buClr>
                <a:schemeClr val="bg1"/>
              </a:buClr>
            </a:pPr>
            <a:r>
              <a:rPr lang="da-DK" sz="2000" dirty="0" err="1">
                <a:solidFill>
                  <a:schemeClr val="bg1"/>
                </a:solidFill>
              </a:rPr>
              <a:t>Who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should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we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involve</a:t>
            </a:r>
            <a:r>
              <a:rPr lang="da-DK" sz="2000" dirty="0">
                <a:solidFill>
                  <a:schemeClr val="bg1"/>
                </a:solidFill>
              </a:rPr>
              <a:t>?</a:t>
            </a:r>
          </a:p>
          <a:p>
            <a:pPr>
              <a:spcBef>
                <a:spcPts val="2400"/>
              </a:spcBef>
              <a:buClr>
                <a:schemeClr val="bg1"/>
              </a:buClr>
            </a:pPr>
            <a:r>
              <a:rPr lang="da-DK" sz="2000" dirty="0" err="1">
                <a:solidFill>
                  <a:schemeClr val="bg1"/>
                </a:solidFill>
              </a:rPr>
              <a:t>Which</a:t>
            </a:r>
            <a:r>
              <a:rPr lang="da-DK" sz="2000" dirty="0">
                <a:solidFill>
                  <a:schemeClr val="bg1"/>
                </a:solidFill>
              </a:rPr>
              <a:t> agendas do </a:t>
            </a:r>
            <a:r>
              <a:rPr lang="da-DK" sz="2000" dirty="0" err="1">
                <a:solidFill>
                  <a:schemeClr val="bg1"/>
                </a:solidFill>
              </a:rPr>
              <a:t>we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share</a:t>
            </a:r>
            <a:r>
              <a:rPr lang="da-DK" sz="2000" dirty="0">
                <a:solidFill>
                  <a:schemeClr val="bg1"/>
                </a:solidFill>
              </a:rPr>
              <a:t>?</a:t>
            </a:r>
          </a:p>
          <a:p>
            <a:pPr>
              <a:spcBef>
                <a:spcPts val="2400"/>
              </a:spcBef>
              <a:buClr>
                <a:schemeClr val="bg1"/>
              </a:buClr>
            </a:pPr>
            <a:r>
              <a:rPr lang="da-DK" sz="2000" dirty="0" err="1">
                <a:solidFill>
                  <a:schemeClr val="bg1"/>
                </a:solidFill>
              </a:rPr>
              <a:t>What</a:t>
            </a:r>
            <a:r>
              <a:rPr lang="da-DK" sz="2000" dirty="0">
                <a:solidFill>
                  <a:schemeClr val="bg1"/>
                </a:solidFill>
              </a:rPr>
              <a:t> is green </a:t>
            </a:r>
            <a:r>
              <a:rPr lang="da-DK" sz="2000" dirty="0" err="1">
                <a:solidFill>
                  <a:schemeClr val="bg1"/>
                </a:solidFill>
              </a:rPr>
              <a:t>governance</a:t>
            </a:r>
            <a:r>
              <a:rPr lang="da-DK" sz="2000" dirty="0">
                <a:solidFill>
                  <a:schemeClr val="bg1"/>
                </a:solidFill>
              </a:rPr>
              <a:t>?!?!</a:t>
            </a:r>
          </a:p>
        </p:txBody>
      </p:sp>
      <p:sp>
        <p:nvSpPr>
          <p:cNvPr id="13" name="Tekstfelt 12"/>
          <p:cNvSpPr txBox="1"/>
          <p:nvPr/>
        </p:nvSpPr>
        <p:spPr>
          <a:xfrm>
            <a:off x="6847969" y="1800418"/>
            <a:ext cx="203902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000" b="1" i="1" dirty="0">
                <a:solidFill>
                  <a:schemeClr val="bg1"/>
                </a:solidFill>
              </a:rPr>
              <a:t>Knowledge </a:t>
            </a:r>
            <a:r>
              <a:rPr lang="da-DK" sz="2000" b="1" i="1" dirty="0" err="1">
                <a:solidFill>
                  <a:schemeClr val="bg1"/>
                </a:solidFill>
              </a:rPr>
              <a:t>gaps</a:t>
            </a:r>
            <a:endParaRPr lang="da-DK" sz="2000" b="1" i="1" dirty="0">
              <a:solidFill>
                <a:schemeClr val="bg1"/>
              </a:solidFill>
            </a:endParaRPr>
          </a:p>
        </p:txBody>
      </p:sp>
      <p:pic>
        <p:nvPicPr>
          <p:cNvPr id="11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7104112" y="5944672"/>
            <a:ext cx="2059766" cy="73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e 8"/>
          <p:cNvGrpSpPr/>
          <p:nvPr/>
        </p:nvGrpSpPr>
        <p:grpSpPr>
          <a:xfrm>
            <a:off x="182283" y="170804"/>
            <a:ext cx="11855754" cy="233362"/>
            <a:chOff x="182283" y="170804"/>
            <a:chExt cx="11855754" cy="233362"/>
          </a:xfrm>
        </p:grpSpPr>
        <p:sp>
          <p:nvSpPr>
            <p:cNvPr id="10" name="Kombinationstegning 9"/>
            <p:cNvSpPr/>
            <p:nvPr/>
          </p:nvSpPr>
          <p:spPr>
            <a:xfrm>
              <a:off x="182283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Introduction</a:t>
              </a:r>
              <a:r>
                <a:rPr lang="da-DK" sz="1200" kern="1200" dirty="0">
                  <a:solidFill>
                    <a:srgbClr val="3B5463"/>
                  </a:solidFill>
                </a:rPr>
                <a:t> and Agenda</a:t>
              </a:r>
            </a:p>
          </p:txBody>
        </p:sp>
        <p:sp>
          <p:nvSpPr>
            <p:cNvPr id="12" name="Kombinationstegning 11"/>
            <p:cNvSpPr/>
            <p:nvPr/>
          </p:nvSpPr>
          <p:spPr>
            <a:xfrm>
              <a:off x="2501320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How it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started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14" name="Kombinationstegning 13"/>
            <p:cNvSpPr/>
            <p:nvPr/>
          </p:nvSpPr>
          <p:spPr>
            <a:xfrm>
              <a:off x="4820358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b="1" kern="1200" dirty="0" err="1">
                  <a:solidFill>
                    <a:srgbClr val="3B5463"/>
                  </a:solidFill>
                </a:rPr>
                <a:t>Our</a:t>
              </a:r>
              <a:r>
                <a:rPr lang="da-DK" sz="1200" b="1" kern="1200" dirty="0">
                  <a:solidFill>
                    <a:srgbClr val="3B5463"/>
                  </a:solidFill>
                </a:rPr>
                <a:t> </a:t>
              </a:r>
              <a:r>
                <a:rPr lang="da-DK" sz="1200" b="1" kern="1200" dirty="0" err="1">
                  <a:solidFill>
                    <a:srgbClr val="3B5463"/>
                  </a:solidFill>
                </a:rPr>
                <a:t>process</a:t>
              </a:r>
              <a:endParaRPr lang="da-DK" sz="1200" b="1" kern="1200" dirty="0">
                <a:solidFill>
                  <a:srgbClr val="3B5463"/>
                </a:solidFill>
              </a:endParaRPr>
            </a:p>
          </p:txBody>
        </p:sp>
        <p:sp>
          <p:nvSpPr>
            <p:cNvPr id="15" name="Kombinationstegning 14"/>
            <p:cNvSpPr/>
            <p:nvPr/>
          </p:nvSpPr>
          <p:spPr>
            <a:xfrm>
              <a:off x="7139396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Learning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experience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17" name="Kombinationstegning 16"/>
            <p:cNvSpPr/>
            <p:nvPr/>
          </p:nvSpPr>
          <p:spPr>
            <a:xfrm>
              <a:off x="9461329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Next</a:t>
              </a:r>
              <a:r>
                <a:rPr lang="da-DK" sz="1200" kern="1200" dirty="0">
                  <a:solidFill>
                    <a:srgbClr val="3B5463"/>
                  </a:solidFill>
                </a:rPr>
                <a:t> step</a:t>
              </a:r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278745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36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ladsholder til indhold 15"/>
          <p:cNvPicPr>
            <a:picLocks noGrp="1" noChangeAspect="1"/>
          </p:cNvPicPr>
          <p:nvPr>
            <p:ph sz="half" idx="1"/>
          </p:nvPr>
        </p:nvPicPr>
        <p:blipFill>
          <a:blip r:embed="rId5"/>
          <a:stretch>
            <a:fillRect/>
          </a:stretch>
        </p:blipFill>
        <p:spPr>
          <a:xfrm>
            <a:off x="2734619" y="1600508"/>
            <a:ext cx="1052934" cy="1052934"/>
          </a:xfrm>
          <a:prstGeom prst="rect">
            <a:avLst/>
          </a:prstGeom>
        </p:spPr>
      </p:pic>
      <p:pic>
        <p:nvPicPr>
          <p:cNvPr id="17" name="Pladsholder til indhold 16"/>
          <p:cNvPicPr>
            <a:picLocks noGrp="1"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8421852" y="1600508"/>
            <a:ext cx="1052934" cy="1052934"/>
          </a:xfrm>
          <a:prstGeom prst="rect">
            <a:avLst/>
          </a:prstGeom>
        </p:spPr>
      </p:pic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2125" y="513388"/>
            <a:ext cx="10785475" cy="936000"/>
          </a:xfrm>
        </p:spPr>
        <p:txBody>
          <a:bodyPr vert="horz"/>
          <a:lstStyle/>
          <a:p>
            <a:r>
              <a:rPr lang="da-DK" sz="3200" b="1" dirty="0" err="1"/>
              <a:t>O</a:t>
            </a:r>
            <a:r>
              <a:rPr lang="da-DK" sz="3200" b="1" dirty="0" err="1">
                <a:solidFill>
                  <a:srgbClr val="003A63"/>
                </a:solidFill>
              </a:rPr>
              <a:t>rganizational</a:t>
            </a:r>
            <a:r>
              <a:rPr lang="da-DK" sz="3200" b="1" dirty="0">
                <a:solidFill>
                  <a:srgbClr val="003A63"/>
                </a:solidFill>
              </a:rPr>
              <a:t> differences to </a:t>
            </a:r>
            <a:r>
              <a:rPr lang="da-DK" sz="3200" b="1" dirty="0" err="1">
                <a:solidFill>
                  <a:srgbClr val="003A63"/>
                </a:solidFill>
              </a:rPr>
              <a:t>overcome</a:t>
            </a:r>
            <a:endParaRPr lang="da-DK" sz="3200" b="1" dirty="0">
              <a:solidFill>
                <a:srgbClr val="003A63"/>
              </a:solidFill>
            </a:endParaRPr>
          </a:p>
        </p:txBody>
      </p:sp>
      <p:grpSp>
        <p:nvGrpSpPr>
          <p:cNvPr id="5" name="Gruppe 4"/>
          <p:cNvGrpSpPr/>
          <p:nvPr/>
        </p:nvGrpSpPr>
        <p:grpSpPr>
          <a:xfrm>
            <a:off x="7724183" y="2875509"/>
            <a:ext cx="2448272" cy="2147389"/>
            <a:chOff x="7724183" y="2875509"/>
            <a:chExt cx="2448272" cy="2147389"/>
          </a:xfrm>
        </p:grpSpPr>
        <p:sp>
          <p:nvSpPr>
            <p:cNvPr id="20" name="Rektangel 19"/>
            <p:cNvSpPr/>
            <p:nvPr/>
          </p:nvSpPr>
          <p:spPr bwMode="auto">
            <a:xfrm>
              <a:off x="7724183" y="2875509"/>
              <a:ext cx="2448272" cy="432048"/>
            </a:xfrm>
            <a:prstGeom prst="rect">
              <a:avLst/>
            </a:prstGeom>
            <a:solidFill>
              <a:srgbClr val="DBD9D6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8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Agency </a:t>
              </a:r>
            </a:p>
          </p:txBody>
        </p:sp>
        <p:sp>
          <p:nvSpPr>
            <p:cNvPr id="21" name="Rektangel 20"/>
            <p:cNvSpPr/>
            <p:nvPr/>
          </p:nvSpPr>
          <p:spPr bwMode="auto">
            <a:xfrm>
              <a:off x="7724183" y="4590850"/>
              <a:ext cx="2448272" cy="432048"/>
            </a:xfrm>
            <a:prstGeom prst="rect">
              <a:avLst/>
            </a:prstGeom>
            <a:solidFill>
              <a:srgbClr val="DBD9D6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8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In house</a:t>
              </a:r>
            </a:p>
          </p:txBody>
        </p:sp>
        <p:sp>
          <p:nvSpPr>
            <p:cNvPr id="22" name="Rektangel 21"/>
            <p:cNvSpPr/>
            <p:nvPr/>
          </p:nvSpPr>
          <p:spPr bwMode="auto">
            <a:xfrm>
              <a:off x="7724183" y="3447289"/>
              <a:ext cx="2448272" cy="432048"/>
            </a:xfrm>
            <a:prstGeom prst="rect">
              <a:avLst/>
            </a:prstGeom>
            <a:solidFill>
              <a:srgbClr val="DBD9D6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8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Executive</a:t>
              </a:r>
              <a:r>
                <a:rPr kumimoji="0" lang="da-DK" sz="18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 </a:t>
              </a:r>
            </a:p>
          </p:txBody>
        </p:sp>
        <p:sp>
          <p:nvSpPr>
            <p:cNvPr id="24" name="Rektangel 23"/>
            <p:cNvSpPr/>
            <p:nvPr/>
          </p:nvSpPr>
          <p:spPr bwMode="auto">
            <a:xfrm>
              <a:off x="7724183" y="4019069"/>
              <a:ext cx="2448272" cy="432048"/>
            </a:xfrm>
            <a:prstGeom prst="rect">
              <a:avLst/>
            </a:prstGeom>
            <a:solidFill>
              <a:srgbClr val="DBD9D6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8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Narrow</a:t>
              </a:r>
              <a:r>
                <a:rPr kumimoji="0" lang="da-DK" sz="18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 </a:t>
              </a:r>
              <a:r>
                <a:rPr kumimoji="0" lang="da-DK" sz="18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scope</a:t>
              </a:r>
              <a:endParaRPr kumimoji="0" lang="da-DK" sz="1800" b="0" i="0" u="none" strike="noStrike" cap="none" normalizeH="0" baseline="0" dirty="0">
                <a:ln>
                  <a:noFill/>
                </a:ln>
                <a:solidFill>
                  <a:srgbClr val="3B5463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3" name="Gruppe 2"/>
          <p:cNvGrpSpPr/>
          <p:nvPr/>
        </p:nvGrpSpPr>
        <p:grpSpPr>
          <a:xfrm>
            <a:off x="2036950" y="2907040"/>
            <a:ext cx="2448272" cy="2084327"/>
            <a:chOff x="2036950" y="2932092"/>
            <a:chExt cx="2448272" cy="2084327"/>
          </a:xfrm>
        </p:grpSpPr>
        <p:sp>
          <p:nvSpPr>
            <p:cNvPr id="19" name="Rektangel 18"/>
            <p:cNvSpPr/>
            <p:nvPr/>
          </p:nvSpPr>
          <p:spPr bwMode="auto">
            <a:xfrm>
              <a:off x="2036950" y="2932092"/>
              <a:ext cx="2448272" cy="432048"/>
            </a:xfrm>
            <a:prstGeom prst="rect">
              <a:avLst/>
            </a:prstGeom>
            <a:solidFill>
              <a:srgbClr val="DBD9D6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8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Ministry</a:t>
              </a:r>
              <a:endParaRPr kumimoji="0" lang="da-DK" sz="1800" b="0" i="0" u="none" strike="noStrike" cap="none" normalizeH="0" baseline="0" dirty="0">
                <a:ln>
                  <a:noFill/>
                </a:ln>
                <a:solidFill>
                  <a:srgbClr val="3B5463"/>
                </a:solidFill>
                <a:effectLst/>
                <a:latin typeface="Arial" charset="0"/>
              </a:endParaRPr>
            </a:p>
          </p:txBody>
        </p:sp>
        <p:sp>
          <p:nvSpPr>
            <p:cNvPr id="23" name="Rektangel 22"/>
            <p:cNvSpPr/>
            <p:nvPr/>
          </p:nvSpPr>
          <p:spPr bwMode="auto">
            <a:xfrm>
              <a:off x="2036950" y="3440810"/>
              <a:ext cx="2448272" cy="432048"/>
            </a:xfrm>
            <a:prstGeom prst="rect">
              <a:avLst/>
            </a:prstGeom>
            <a:solidFill>
              <a:srgbClr val="DBD9D6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8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Policy</a:t>
              </a:r>
            </a:p>
          </p:txBody>
        </p:sp>
        <p:sp>
          <p:nvSpPr>
            <p:cNvPr id="25" name="Rektangel 24"/>
            <p:cNvSpPr/>
            <p:nvPr/>
          </p:nvSpPr>
          <p:spPr bwMode="auto">
            <a:xfrm>
              <a:off x="2036950" y="4584371"/>
              <a:ext cx="2448272" cy="432048"/>
            </a:xfrm>
            <a:prstGeom prst="rect">
              <a:avLst/>
            </a:prstGeom>
            <a:solidFill>
              <a:srgbClr val="DBD9D6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8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External</a:t>
              </a:r>
              <a:r>
                <a:rPr kumimoji="0" lang="da-DK" sz="18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 </a:t>
              </a:r>
              <a:r>
                <a:rPr kumimoji="0" lang="da-DK" sz="18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consultancy</a:t>
              </a:r>
              <a:endParaRPr kumimoji="0" lang="da-DK" sz="1800" b="0" i="0" u="none" strike="noStrike" cap="none" normalizeH="0" baseline="0" dirty="0">
                <a:ln>
                  <a:noFill/>
                </a:ln>
                <a:solidFill>
                  <a:srgbClr val="3B5463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ktangel 25"/>
            <p:cNvSpPr/>
            <p:nvPr/>
          </p:nvSpPr>
          <p:spPr bwMode="auto">
            <a:xfrm>
              <a:off x="2036950" y="4012590"/>
              <a:ext cx="2448272" cy="432048"/>
            </a:xfrm>
            <a:prstGeom prst="rect">
              <a:avLst/>
            </a:prstGeom>
            <a:solidFill>
              <a:srgbClr val="DBD9D6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800" b="0" i="0" u="none" strike="noStrike" cap="none" normalizeH="0" baseline="0" dirty="0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Wide </a:t>
              </a:r>
              <a:r>
                <a:rPr kumimoji="0" lang="da-DK" sz="1800" b="0" i="0" u="none" strike="noStrike" cap="none" normalizeH="0" baseline="0" dirty="0" err="1">
                  <a:ln>
                    <a:noFill/>
                  </a:ln>
                  <a:solidFill>
                    <a:srgbClr val="3B5463"/>
                  </a:solidFill>
                  <a:effectLst/>
                  <a:latin typeface="Arial" charset="0"/>
                </a:rPr>
                <a:t>scope</a:t>
              </a:r>
              <a:endParaRPr kumimoji="0" lang="da-DK" sz="1800" b="0" i="0" u="none" strike="noStrike" cap="none" normalizeH="0" baseline="0" dirty="0">
                <a:ln>
                  <a:noFill/>
                </a:ln>
                <a:solidFill>
                  <a:srgbClr val="3B5463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7" name="Rektangel 26"/>
          <p:cNvSpPr/>
          <p:nvPr/>
        </p:nvSpPr>
        <p:spPr bwMode="auto">
          <a:xfrm>
            <a:off x="4870277" y="3065415"/>
            <a:ext cx="2448272" cy="432048"/>
          </a:xfrm>
          <a:prstGeom prst="rect">
            <a:avLst/>
          </a:prstGeom>
          <a:solidFill>
            <a:srgbClr val="00856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800" dirty="0" err="1">
                <a:solidFill>
                  <a:schemeClr val="bg1"/>
                </a:solidFill>
              </a:rPr>
              <a:t>Procurement</a:t>
            </a:r>
            <a:r>
              <a:rPr lang="da-DK" sz="1800" dirty="0">
                <a:solidFill>
                  <a:schemeClr val="bg1"/>
                </a:solidFill>
              </a:rPr>
              <a:t> </a:t>
            </a:r>
            <a:endParaRPr kumimoji="0" lang="da-DK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28" name="Rektangel 27"/>
          <p:cNvSpPr/>
          <p:nvPr/>
        </p:nvSpPr>
        <p:spPr bwMode="auto">
          <a:xfrm>
            <a:off x="4859878" y="4201244"/>
            <a:ext cx="2448272" cy="432048"/>
          </a:xfrm>
          <a:prstGeom prst="rect">
            <a:avLst/>
          </a:prstGeom>
          <a:solidFill>
            <a:srgbClr val="00856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800" dirty="0">
                <a:solidFill>
                  <a:schemeClr val="bg1"/>
                </a:solidFill>
              </a:rPr>
              <a:t>Digital and datadriven </a:t>
            </a:r>
            <a:endParaRPr kumimoji="0" lang="da-DK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29" name="Rektangel 28"/>
          <p:cNvSpPr/>
          <p:nvPr/>
        </p:nvSpPr>
        <p:spPr bwMode="auto">
          <a:xfrm>
            <a:off x="4859878" y="3633329"/>
            <a:ext cx="2448272" cy="432048"/>
          </a:xfrm>
          <a:prstGeom prst="rect">
            <a:avLst/>
          </a:prstGeom>
          <a:solidFill>
            <a:srgbClr val="00856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800" b="0" i="0" u="none" strike="noStrike" cap="none" normalizeH="0" dirty="0" err="1">
                <a:ln>
                  <a:noFill/>
                </a:ln>
                <a:solidFill>
                  <a:schemeClr val="bg1"/>
                </a:solidFill>
                <a:effectLst/>
              </a:rPr>
              <a:t>Carbon</a:t>
            </a:r>
            <a:r>
              <a:rPr kumimoji="0" lang="da-DK" sz="18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r>
              <a:rPr kumimoji="0" lang="da-DK" sz="1800" b="0" i="0" u="none" strike="noStrike" cap="none" normalizeH="0" dirty="0" err="1">
                <a:ln>
                  <a:noFill/>
                </a:ln>
                <a:solidFill>
                  <a:schemeClr val="bg1"/>
                </a:solidFill>
                <a:effectLst/>
              </a:rPr>
              <a:t>Footprint</a:t>
            </a:r>
            <a:endParaRPr kumimoji="0" lang="da-DK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pic>
        <p:nvPicPr>
          <p:cNvPr id="31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7104112" y="5944672"/>
            <a:ext cx="2059766" cy="73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Gruppe 29"/>
          <p:cNvGrpSpPr/>
          <p:nvPr/>
        </p:nvGrpSpPr>
        <p:grpSpPr>
          <a:xfrm>
            <a:off x="182283" y="170804"/>
            <a:ext cx="11855754" cy="233362"/>
            <a:chOff x="182283" y="170804"/>
            <a:chExt cx="11855754" cy="233362"/>
          </a:xfrm>
        </p:grpSpPr>
        <p:sp>
          <p:nvSpPr>
            <p:cNvPr id="32" name="Kombinationstegning 31"/>
            <p:cNvSpPr/>
            <p:nvPr/>
          </p:nvSpPr>
          <p:spPr>
            <a:xfrm>
              <a:off x="182283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Introduction</a:t>
              </a:r>
              <a:r>
                <a:rPr lang="da-DK" sz="1200" kern="1200" dirty="0">
                  <a:solidFill>
                    <a:srgbClr val="3B5463"/>
                  </a:solidFill>
                </a:rPr>
                <a:t> and Agenda</a:t>
              </a:r>
            </a:p>
          </p:txBody>
        </p:sp>
        <p:sp>
          <p:nvSpPr>
            <p:cNvPr id="33" name="Kombinationstegning 32"/>
            <p:cNvSpPr/>
            <p:nvPr/>
          </p:nvSpPr>
          <p:spPr>
            <a:xfrm>
              <a:off x="2501320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How it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started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34" name="Kombinationstegning 33"/>
            <p:cNvSpPr/>
            <p:nvPr/>
          </p:nvSpPr>
          <p:spPr>
            <a:xfrm>
              <a:off x="4820358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b="1" kern="1200" dirty="0" err="1">
                  <a:solidFill>
                    <a:srgbClr val="3B5463"/>
                  </a:solidFill>
                </a:rPr>
                <a:t>Our</a:t>
              </a:r>
              <a:r>
                <a:rPr lang="da-DK" sz="1200" b="1" kern="1200" dirty="0">
                  <a:solidFill>
                    <a:srgbClr val="3B5463"/>
                  </a:solidFill>
                </a:rPr>
                <a:t> </a:t>
              </a:r>
              <a:r>
                <a:rPr lang="da-DK" sz="1200" b="1" kern="1200" dirty="0" err="1">
                  <a:solidFill>
                    <a:srgbClr val="3B5463"/>
                  </a:solidFill>
                </a:rPr>
                <a:t>process</a:t>
              </a:r>
              <a:endParaRPr lang="da-DK" sz="1200" b="1" kern="1200" dirty="0">
                <a:solidFill>
                  <a:srgbClr val="3B5463"/>
                </a:solidFill>
              </a:endParaRPr>
            </a:p>
          </p:txBody>
        </p:sp>
        <p:sp>
          <p:nvSpPr>
            <p:cNvPr id="35" name="Kombinationstegning 34"/>
            <p:cNvSpPr/>
            <p:nvPr/>
          </p:nvSpPr>
          <p:spPr>
            <a:xfrm>
              <a:off x="7139396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Learning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experience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36" name="Kombinationstegning 35"/>
            <p:cNvSpPr/>
            <p:nvPr/>
          </p:nvSpPr>
          <p:spPr>
            <a:xfrm>
              <a:off x="9461329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Next</a:t>
              </a:r>
              <a:r>
                <a:rPr lang="da-DK" sz="1200" kern="1200" dirty="0">
                  <a:solidFill>
                    <a:srgbClr val="3B5463"/>
                  </a:solidFill>
                </a:rPr>
                <a:t> ste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537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866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Lige forbindelse 9"/>
          <p:cNvCxnSpPr>
            <a:cxnSpLocks/>
          </p:cNvCxnSpPr>
          <p:nvPr/>
        </p:nvCxnSpPr>
        <p:spPr bwMode="auto">
          <a:xfrm>
            <a:off x="5644384" y="3026393"/>
            <a:ext cx="0" cy="41843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3A6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8481" y="505694"/>
            <a:ext cx="10785475" cy="936000"/>
          </a:xfrm>
        </p:spPr>
        <p:txBody>
          <a:bodyPr vert="horz"/>
          <a:lstStyle/>
          <a:p>
            <a:r>
              <a:rPr lang="da-DK" sz="3200" b="1" dirty="0">
                <a:solidFill>
                  <a:srgbClr val="003A63"/>
                </a:solidFill>
              </a:rPr>
              <a:t>Project Timeline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/>
              <a:pPr/>
              <a:t>7</a:t>
            </a:fld>
            <a:endParaRPr lang="da-DK" dirty="0"/>
          </a:p>
        </p:txBody>
      </p:sp>
      <p:sp>
        <p:nvSpPr>
          <p:cNvPr id="5" name="Højrepil 4"/>
          <p:cNvSpPr>
            <a:spLocks/>
          </p:cNvSpPr>
          <p:nvPr/>
        </p:nvSpPr>
        <p:spPr bwMode="auto">
          <a:xfrm>
            <a:off x="1322434" y="3148265"/>
            <a:ext cx="9711477" cy="749749"/>
          </a:xfrm>
          <a:prstGeom prst="rightArrow">
            <a:avLst/>
          </a:prstGeom>
          <a:solidFill>
            <a:srgbClr val="003A63"/>
          </a:solidFill>
          <a:ln w="6350" cap="flat" cmpd="sng" algn="ctr">
            <a:solidFill>
              <a:srgbClr val="003A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6" name="Lige forbindelse 5"/>
          <p:cNvCxnSpPr>
            <a:cxnSpLocks/>
          </p:cNvCxnSpPr>
          <p:nvPr/>
        </p:nvCxnSpPr>
        <p:spPr bwMode="auto">
          <a:xfrm>
            <a:off x="1639544" y="3032994"/>
            <a:ext cx="0" cy="411833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3A6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kstboks 8"/>
          <p:cNvSpPr txBox="1">
            <a:spLocks/>
          </p:cNvSpPr>
          <p:nvPr/>
        </p:nvSpPr>
        <p:spPr>
          <a:xfrm>
            <a:off x="925164" y="2443664"/>
            <a:ext cx="1440160" cy="622598"/>
          </a:xfrm>
          <a:prstGeom prst="rect">
            <a:avLst/>
          </a:prstGeom>
          <a:solidFill>
            <a:srgbClr val="AADBC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3B5463"/>
                </a:solidFill>
                <a:effectLst/>
                <a:uLnTx/>
                <a:uFillTx/>
              </a:rPr>
            </a:br>
            <a:r>
              <a:rPr lang="da-DK" sz="1200" b="1" dirty="0">
                <a:solidFill>
                  <a:srgbClr val="003A63"/>
                </a:solidFill>
              </a:rPr>
              <a:t>Initial </a:t>
            </a:r>
            <a:r>
              <a:rPr lang="da-DK" sz="1200" b="1" dirty="0" err="1">
                <a:solidFill>
                  <a:srgbClr val="003A63"/>
                </a:solidFill>
              </a:rPr>
              <a:t>planning</a:t>
            </a:r>
            <a:endParaRPr lang="da-DK" sz="1200" dirty="0">
              <a:solidFill>
                <a:srgbClr val="003A63"/>
              </a:solidFill>
            </a:endParaRPr>
          </a:p>
        </p:txBody>
      </p:sp>
      <p:sp>
        <p:nvSpPr>
          <p:cNvPr id="20" name="Tekstboks 9"/>
          <p:cNvSpPr txBox="1">
            <a:spLocks/>
          </p:cNvSpPr>
          <p:nvPr/>
        </p:nvSpPr>
        <p:spPr>
          <a:xfrm>
            <a:off x="1354508" y="3385838"/>
            <a:ext cx="612075" cy="317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9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pril-May</a:t>
            </a:r>
            <a:r>
              <a:rPr kumimoji="0" lang="da-DK" sz="993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2023</a:t>
            </a:r>
            <a:endParaRPr kumimoji="0" lang="da-DK" sz="99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ekstboks 9"/>
          <p:cNvSpPr txBox="1">
            <a:spLocks/>
          </p:cNvSpPr>
          <p:nvPr/>
        </p:nvSpPr>
        <p:spPr>
          <a:xfrm>
            <a:off x="5175454" y="3385838"/>
            <a:ext cx="1002718" cy="3300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93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July</a:t>
            </a:r>
            <a:r>
              <a:rPr lang="da-DK" sz="993" b="1" dirty="0">
                <a:solidFill>
                  <a:srgbClr val="FFFFFF"/>
                </a:solidFill>
              </a:rPr>
              <a:t>-August</a:t>
            </a:r>
            <a:r>
              <a:rPr lang="da-DK" sz="993" dirty="0">
                <a:solidFill>
                  <a:srgbClr val="FFFFFF"/>
                </a:solidFill>
              </a:rPr>
              <a:t> </a:t>
            </a:r>
            <a:r>
              <a:rPr lang="da-DK" sz="993" b="1" dirty="0">
                <a:solidFill>
                  <a:srgbClr val="FFFFFF"/>
                </a:solidFill>
              </a:rPr>
              <a:t>2023</a:t>
            </a:r>
            <a:endParaRPr kumimoji="0" lang="da-DK" sz="99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" name="Tekstboks 9"/>
          <p:cNvSpPr txBox="1">
            <a:spLocks/>
          </p:cNvSpPr>
          <p:nvPr/>
        </p:nvSpPr>
        <p:spPr>
          <a:xfrm>
            <a:off x="7217766" y="3379715"/>
            <a:ext cx="1080120" cy="3300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9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eptember 23</a:t>
            </a:r>
            <a:r>
              <a:rPr kumimoji="0" lang="da-DK" sz="993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– </a:t>
            </a:r>
            <a:r>
              <a:rPr lang="da-DK" sz="993" b="1" noProof="0" dirty="0">
                <a:solidFill>
                  <a:srgbClr val="FFFFFF"/>
                </a:solidFill>
              </a:rPr>
              <a:t>J</a:t>
            </a:r>
            <a:r>
              <a:rPr lang="da-DK" sz="993" b="1" dirty="0" err="1">
                <a:solidFill>
                  <a:srgbClr val="FFFFFF"/>
                </a:solidFill>
              </a:rPr>
              <a:t>anuary</a:t>
            </a:r>
            <a:r>
              <a:rPr kumimoji="0" lang="da-DK" sz="993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24</a:t>
            </a:r>
            <a:endParaRPr kumimoji="0" lang="da-DK" sz="99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" name="Tekstboks 9"/>
          <p:cNvSpPr txBox="1">
            <a:spLocks/>
          </p:cNvSpPr>
          <p:nvPr/>
        </p:nvSpPr>
        <p:spPr>
          <a:xfrm>
            <a:off x="9628222" y="3379715"/>
            <a:ext cx="673283" cy="3300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93" b="1" dirty="0" err="1">
                <a:solidFill>
                  <a:srgbClr val="FFFFFF"/>
                </a:solidFill>
              </a:rPr>
              <a:t>February</a:t>
            </a:r>
            <a:r>
              <a:rPr lang="da-DK" sz="993" b="1" dirty="0">
                <a:solidFill>
                  <a:srgbClr val="FFFFFF"/>
                </a:solidFill>
              </a:rPr>
              <a:t> – March 24</a:t>
            </a:r>
            <a:endParaRPr kumimoji="0" lang="da-DK" sz="99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" name="Tekstboks 9"/>
          <p:cNvSpPr txBox="1">
            <a:spLocks/>
          </p:cNvSpPr>
          <p:nvPr/>
        </p:nvSpPr>
        <p:spPr>
          <a:xfrm>
            <a:off x="3124104" y="3468361"/>
            <a:ext cx="673283" cy="165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93" b="1" dirty="0">
                <a:solidFill>
                  <a:srgbClr val="FFFFFF"/>
                </a:solidFill>
              </a:rPr>
              <a:t>June</a:t>
            </a:r>
            <a:r>
              <a:rPr lang="da-DK" sz="993" dirty="0">
                <a:solidFill>
                  <a:srgbClr val="FFFFFF"/>
                </a:solidFill>
              </a:rPr>
              <a:t> </a:t>
            </a:r>
            <a:r>
              <a:rPr lang="da-DK" sz="993" b="1" dirty="0">
                <a:solidFill>
                  <a:srgbClr val="FFFFFF"/>
                </a:solidFill>
              </a:rPr>
              <a:t>2023</a:t>
            </a:r>
            <a:endParaRPr kumimoji="0" lang="da-DK" sz="99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8" name="Lige forbindelse 7"/>
          <p:cNvCxnSpPr>
            <a:cxnSpLocks/>
            <a:endCxn id="27" idx="0"/>
          </p:cNvCxnSpPr>
          <p:nvPr/>
        </p:nvCxnSpPr>
        <p:spPr bwMode="auto">
          <a:xfrm>
            <a:off x="3484045" y="3703682"/>
            <a:ext cx="99" cy="649193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3A6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kstboks 8"/>
          <p:cNvSpPr txBox="1">
            <a:spLocks/>
          </p:cNvSpPr>
          <p:nvPr/>
        </p:nvSpPr>
        <p:spPr>
          <a:xfrm>
            <a:off x="2764064" y="4352875"/>
            <a:ext cx="1440160" cy="519535"/>
          </a:xfrm>
          <a:prstGeom prst="rect">
            <a:avLst/>
          </a:prstGeom>
          <a:solidFill>
            <a:srgbClr val="AADBC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72000" rIns="0" bIns="0" rtlCol="0">
            <a:noAutofit/>
          </a:bodyPr>
          <a:lstStyle/>
          <a:p>
            <a:pPr lvl="0" algn="ctr">
              <a:defRPr/>
            </a:pPr>
            <a:r>
              <a:rPr lang="da-DK" sz="1200" b="1" dirty="0">
                <a:solidFill>
                  <a:srgbClr val="003A63"/>
                </a:solidFill>
              </a:rPr>
              <a:t>Online kick </a:t>
            </a:r>
            <a:r>
              <a:rPr lang="da-DK" sz="1200" b="1" dirty="0" err="1">
                <a:solidFill>
                  <a:srgbClr val="003A63"/>
                </a:solidFill>
              </a:rPr>
              <a:t>off</a:t>
            </a:r>
            <a:br>
              <a:rPr lang="da-DK" sz="1200" b="1" dirty="0">
                <a:solidFill>
                  <a:srgbClr val="003A63"/>
                </a:solidFill>
              </a:rPr>
            </a:br>
            <a:r>
              <a:rPr lang="da-DK" sz="1200" b="1" dirty="0">
                <a:solidFill>
                  <a:srgbClr val="003A63"/>
                </a:solidFill>
              </a:rPr>
              <a:t>and research</a:t>
            </a:r>
            <a:endParaRPr kumimoji="0" lang="da-DK" sz="1193" b="0" i="0" u="none" strike="noStrike" kern="1200" cap="none" spc="0" normalizeH="0" baseline="0" noProof="0" dirty="0">
              <a:ln>
                <a:noFill/>
              </a:ln>
              <a:solidFill>
                <a:srgbClr val="003A63"/>
              </a:solidFill>
              <a:effectLst/>
              <a:uLnTx/>
              <a:uFillTx/>
            </a:endParaRPr>
          </a:p>
        </p:txBody>
      </p:sp>
      <p:cxnSp>
        <p:nvCxnSpPr>
          <p:cNvPr id="12" name="Lige forbindelse 11"/>
          <p:cNvCxnSpPr>
            <a:cxnSpLocks/>
          </p:cNvCxnSpPr>
          <p:nvPr/>
        </p:nvCxnSpPr>
        <p:spPr bwMode="auto">
          <a:xfrm>
            <a:off x="9964864" y="2946306"/>
            <a:ext cx="0" cy="40957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3A6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kstboks 8"/>
          <p:cNvSpPr txBox="1">
            <a:spLocks/>
          </p:cNvSpPr>
          <p:nvPr/>
        </p:nvSpPr>
        <p:spPr>
          <a:xfrm>
            <a:off x="4924304" y="2266139"/>
            <a:ext cx="1440160" cy="780598"/>
          </a:xfrm>
          <a:prstGeom prst="rect">
            <a:avLst/>
          </a:prstGeom>
          <a:solidFill>
            <a:srgbClr val="AADBC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br>
              <a:rPr kumimoji="0" lang="da-DK" sz="1193" b="0" i="0" u="none" strike="noStrike" kern="1200" cap="none" spc="0" normalizeH="0" baseline="0" noProof="0" dirty="0">
                <a:ln>
                  <a:noFill/>
                </a:ln>
                <a:solidFill>
                  <a:srgbClr val="3B546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lang="da-DK" sz="1200" b="1" dirty="0" err="1">
                <a:solidFill>
                  <a:schemeClr val="accent1"/>
                </a:solidFill>
              </a:rPr>
              <a:t>desk</a:t>
            </a:r>
            <a:r>
              <a:rPr lang="da-DK" sz="1200" b="1" dirty="0">
                <a:solidFill>
                  <a:schemeClr val="accent1"/>
                </a:solidFill>
              </a:rPr>
              <a:t> research and </a:t>
            </a:r>
            <a:r>
              <a:rPr lang="da-DK" sz="1200" b="1" dirty="0" err="1">
                <a:solidFill>
                  <a:schemeClr val="accent1"/>
                </a:solidFill>
              </a:rPr>
              <a:t>settling</a:t>
            </a:r>
            <a:r>
              <a:rPr lang="da-DK" sz="1200" b="1" dirty="0">
                <a:solidFill>
                  <a:schemeClr val="accent1"/>
                </a:solidFill>
              </a:rPr>
              <a:t> </a:t>
            </a:r>
            <a:r>
              <a:rPr lang="da-DK" sz="1200" b="1" dirty="0" err="1">
                <a:solidFill>
                  <a:schemeClr val="accent1"/>
                </a:solidFill>
              </a:rPr>
              <a:t>topics</a:t>
            </a:r>
            <a:br>
              <a:rPr lang="da-DK" sz="1193" dirty="0">
                <a:solidFill>
                  <a:srgbClr val="3B5463"/>
                </a:solidFill>
              </a:rPr>
            </a:br>
            <a:endParaRPr lang="da-DK" sz="1193" baseline="0" dirty="0">
              <a:solidFill>
                <a:srgbClr val="3B5463"/>
              </a:solidFill>
            </a:endParaRPr>
          </a:p>
        </p:txBody>
      </p:sp>
      <p:cxnSp>
        <p:nvCxnSpPr>
          <p:cNvPr id="11" name="Lige forbindelse 10"/>
          <p:cNvCxnSpPr>
            <a:cxnSpLocks/>
            <a:stCxn id="24" idx="2"/>
            <a:endCxn id="29" idx="0"/>
          </p:cNvCxnSpPr>
          <p:nvPr/>
        </p:nvCxnSpPr>
        <p:spPr bwMode="auto">
          <a:xfrm>
            <a:off x="7757826" y="3709805"/>
            <a:ext cx="0" cy="477181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3A6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Tekstboks 8"/>
          <p:cNvSpPr txBox="1">
            <a:spLocks/>
          </p:cNvSpPr>
          <p:nvPr/>
        </p:nvSpPr>
        <p:spPr>
          <a:xfrm>
            <a:off x="6929734" y="4186986"/>
            <a:ext cx="1656184" cy="851311"/>
          </a:xfrm>
          <a:prstGeom prst="rect">
            <a:avLst/>
          </a:prstGeom>
          <a:solidFill>
            <a:srgbClr val="AADBC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72000" rIns="0" bIns="0" rtlCol="0">
            <a:noAutofit/>
          </a:bodyPr>
          <a:lstStyle/>
          <a:p>
            <a:pPr lvl="0" algn="ctr"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3A63"/>
                </a:solidFill>
                <a:effectLst/>
                <a:uLnTx/>
                <a:uFillTx/>
              </a:rPr>
              <a:t>High </a:t>
            </a:r>
            <a:r>
              <a:rPr kumimoji="0" lang="da-DK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3A63"/>
                </a:solidFill>
                <a:effectLst/>
                <a:uLnTx/>
                <a:uFillTx/>
              </a:rPr>
              <a:t>level</a:t>
            </a:r>
            <a:r>
              <a:rPr kumimoji="0" lang="da-DK" sz="1200" b="1" i="0" u="none" strike="noStrike" kern="1200" cap="none" spc="0" normalizeH="0" noProof="0" dirty="0">
                <a:ln>
                  <a:noFill/>
                </a:ln>
                <a:solidFill>
                  <a:srgbClr val="003A63"/>
                </a:solidFill>
                <a:effectLst/>
                <a:uLnTx/>
                <a:uFillTx/>
              </a:rPr>
              <a:t> kick-</a:t>
            </a:r>
            <a:r>
              <a:rPr kumimoji="0" lang="da-DK" sz="1200" b="1" i="0" u="none" strike="noStrike" kern="1200" cap="none" spc="0" normalizeH="0" noProof="0" dirty="0" err="1">
                <a:ln>
                  <a:noFill/>
                </a:ln>
                <a:solidFill>
                  <a:srgbClr val="003A63"/>
                </a:solidFill>
                <a:effectLst/>
                <a:uLnTx/>
                <a:uFillTx/>
              </a:rPr>
              <a:t>off</a:t>
            </a:r>
            <a:endParaRPr kumimoji="0" lang="da-DK" sz="1200" b="1" i="0" u="none" strike="noStrike" kern="1200" cap="none" spc="0" normalizeH="0" noProof="0" dirty="0">
              <a:ln>
                <a:noFill/>
              </a:ln>
              <a:solidFill>
                <a:srgbClr val="003A63"/>
              </a:solidFill>
              <a:effectLst/>
              <a:uLnTx/>
              <a:uFillTx/>
            </a:endParaRPr>
          </a:p>
          <a:p>
            <a:pPr marL="0" marR="0" lvl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baseline="0" dirty="0" err="1">
                <a:solidFill>
                  <a:srgbClr val="003A63"/>
                </a:solidFill>
              </a:rPr>
              <a:t>Physical</a:t>
            </a:r>
            <a:r>
              <a:rPr lang="da-DK" sz="1200" b="1" dirty="0">
                <a:solidFill>
                  <a:srgbClr val="003A63"/>
                </a:solidFill>
              </a:rPr>
              <a:t> </a:t>
            </a:r>
            <a:r>
              <a:rPr lang="da-DK" sz="1200" b="1" dirty="0" err="1">
                <a:solidFill>
                  <a:srgbClr val="003A63"/>
                </a:solidFill>
              </a:rPr>
              <a:t>exchanges</a:t>
            </a:r>
            <a:r>
              <a:rPr lang="da-DK" sz="1200" b="1" dirty="0">
                <a:solidFill>
                  <a:srgbClr val="003A63"/>
                </a:solidFill>
              </a:rPr>
              <a:t> on </a:t>
            </a:r>
            <a:r>
              <a:rPr lang="da-DK" sz="1200" b="1" dirty="0" err="1">
                <a:solidFill>
                  <a:srgbClr val="003A63"/>
                </a:solidFill>
              </a:rPr>
              <a:t>working</a:t>
            </a:r>
            <a:r>
              <a:rPr lang="da-DK" sz="1200" b="1" dirty="0">
                <a:solidFill>
                  <a:srgbClr val="003A63"/>
                </a:solidFill>
              </a:rPr>
              <a:t> </a:t>
            </a:r>
            <a:r>
              <a:rPr lang="da-DK" sz="1200" b="1" dirty="0" err="1">
                <a:solidFill>
                  <a:srgbClr val="003A63"/>
                </a:solidFill>
              </a:rPr>
              <a:t>level</a:t>
            </a:r>
            <a:endParaRPr lang="da-DK" sz="1200" b="1" dirty="0">
              <a:solidFill>
                <a:srgbClr val="003A63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193" b="0" i="0" u="none" strike="noStrike" kern="1200" cap="none" spc="0" normalizeH="0" baseline="0" noProof="0" dirty="0">
              <a:ln>
                <a:noFill/>
              </a:ln>
              <a:solidFill>
                <a:srgbClr val="3B546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0" name="Tekstboks 8"/>
          <p:cNvSpPr txBox="1">
            <a:spLocks/>
          </p:cNvSpPr>
          <p:nvPr/>
        </p:nvSpPr>
        <p:spPr>
          <a:xfrm>
            <a:off x="9287731" y="2348162"/>
            <a:ext cx="1440160" cy="698575"/>
          </a:xfrm>
          <a:prstGeom prst="rect">
            <a:avLst/>
          </a:prstGeom>
          <a:solidFill>
            <a:srgbClr val="AADBC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noAutofit/>
          </a:bodyPr>
          <a:lstStyle/>
          <a:p>
            <a:pPr lvl="0" algn="ctr">
              <a:defRPr/>
            </a:pPr>
            <a:br>
              <a:rPr kumimoji="0" lang="da-DK" sz="1193" b="0" i="0" u="none" strike="noStrike" kern="1200" cap="none" spc="0" normalizeH="0" baseline="0" noProof="0" dirty="0">
                <a:ln>
                  <a:noFill/>
                </a:ln>
                <a:solidFill>
                  <a:srgbClr val="003A6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3A6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lobal</a:t>
            </a:r>
            <a:r>
              <a:rPr kumimoji="0" lang="da-DK" sz="1200" b="1" i="0" u="none" strike="noStrike" kern="1200" cap="none" spc="0" normalizeH="0" noProof="0" dirty="0">
                <a:ln>
                  <a:noFill/>
                </a:ln>
                <a:solidFill>
                  <a:srgbClr val="003A6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workshop and final </a:t>
            </a:r>
            <a:r>
              <a:rPr kumimoji="0" lang="da-DK" sz="1200" b="1" i="0" u="none" strike="noStrike" kern="1200" cap="none" spc="0" normalizeH="0" noProof="0" dirty="0" err="1">
                <a:ln>
                  <a:noFill/>
                </a:ln>
                <a:solidFill>
                  <a:srgbClr val="003A63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port</a:t>
            </a:r>
            <a:endParaRPr kumimoji="0" lang="da-DK" sz="1193" b="0" i="0" u="none" strike="noStrike" kern="1200" cap="none" spc="0" normalizeH="0" baseline="0" noProof="0" dirty="0">
              <a:ln>
                <a:noFill/>
              </a:ln>
              <a:solidFill>
                <a:srgbClr val="003A63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1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7104112" y="5944672"/>
            <a:ext cx="2059766" cy="73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uppe 21"/>
          <p:cNvGrpSpPr/>
          <p:nvPr/>
        </p:nvGrpSpPr>
        <p:grpSpPr>
          <a:xfrm>
            <a:off x="182283" y="170804"/>
            <a:ext cx="11855754" cy="233362"/>
            <a:chOff x="182283" y="170804"/>
            <a:chExt cx="11855754" cy="233362"/>
          </a:xfrm>
        </p:grpSpPr>
        <p:sp>
          <p:nvSpPr>
            <p:cNvPr id="32" name="Kombinationstegning 31"/>
            <p:cNvSpPr/>
            <p:nvPr/>
          </p:nvSpPr>
          <p:spPr>
            <a:xfrm>
              <a:off x="182283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Introduction</a:t>
              </a:r>
              <a:r>
                <a:rPr lang="da-DK" sz="1200" kern="1200" dirty="0">
                  <a:solidFill>
                    <a:srgbClr val="3B5463"/>
                  </a:solidFill>
                </a:rPr>
                <a:t> and Agenda</a:t>
              </a:r>
            </a:p>
          </p:txBody>
        </p:sp>
        <p:sp>
          <p:nvSpPr>
            <p:cNvPr id="33" name="Kombinationstegning 32"/>
            <p:cNvSpPr/>
            <p:nvPr/>
          </p:nvSpPr>
          <p:spPr>
            <a:xfrm>
              <a:off x="2501320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How it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started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34" name="Kombinationstegning 33"/>
            <p:cNvSpPr/>
            <p:nvPr/>
          </p:nvSpPr>
          <p:spPr>
            <a:xfrm>
              <a:off x="4820358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b="1" kern="1200" dirty="0" err="1">
                  <a:solidFill>
                    <a:srgbClr val="3B5463"/>
                  </a:solidFill>
                </a:rPr>
                <a:t>Our</a:t>
              </a:r>
              <a:r>
                <a:rPr lang="da-DK" sz="1200" b="1" kern="1200" dirty="0">
                  <a:solidFill>
                    <a:srgbClr val="3B5463"/>
                  </a:solidFill>
                </a:rPr>
                <a:t> </a:t>
              </a:r>
              <a:r>
                <a:rPr lang="da-DK" sz="1200" b="1" kern="1200" dirty="0" err="1">
                  <a:solidFill>
                    <a:srgbClr val="3B5463"/>
                  </a:solidFill>
                </a:rPr>
                <a:t>process</a:t>
              </a:r>
              <a:endParaRPr lang="da-DK" sz="1200" b="1" kern="1200" dirty="0">
                <a:solidFill>
                  <a:srgbClr val="3B5463"/>
                </a:solidFill>
              </a:endParaRPr>
            </a:p>
          </p:txBody>
        </p:sp>
        <p:sp>
          <p:nvSpPr>
            <p:cNvPr id="35" name="Kombinationstegning 34"/>
            <p:cNvSpPr/>
            <p:nvPr/>
          </p:nvSpPr>
          <p:spPr>
            <a:xfrm>
              <a:off x="7139396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Learning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experience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36" name="Kombinationstegning 35"/>
            <p:cNvSpPr/>
            <p:nvPr/>
          </p:nvSpPr>
          <p:spPr>
            <a:xfrm>
              <a:off x="9461329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Next</a:t>
              </a:r>
              <a:r>
                <a:rPr lang="da-DK" sz="1200" kern="1200" dirty="0">
                  <a:solidFill>
                    <a:srgbClr val="3B5463"/>
                  </a:solidFill>
                </a:rPr>
                <a:t> step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51573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809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1675" y="518447"/>
            <a:ext cx="10785475" cy="936000"/>
          </a:xfrm>
        </p:spPr>
        <p:txBody>
          <a:bodyPr vert="horz"/>
          <a:lstStyle/>
          <a:p>
            <a:r>
              <a:rPr lang="da-DK" sz="3200" b="1" dirty="0" err="1">
                <a:solidFill>
                  <a:srgbClr val="003A63"/>
                </a:solidFill>
              </a:rPr>
              <a:t>Examples</a:t>
            </a:r>
            <a:r>
              <a:rPr lang="da-DK" sz="3200" b="1" dirty="0">
                <a:solidFill>
                  <a:srgbClr val="003A63"/>
                </a:solidFill>
              </a:rPr>
              <a:t> of </a:t>
            </a:r>
            <a:r>
              <a:rPr lang="da-DK" sz="3200" b="1" dirty="0" err="1">
                <a:solidFill>
                  <a:srgbClr val="003A63"/>
                </a:solidFill>
              </a:rPr>
              <a:t>activities</a:t>
            </a:r>
            <a:r>
              <a:rPr lang="da-DK" sz="3200" b="1" dirty="0">
                <a:solidFill>
                  <a:srgbClr val="003A63"/>
                </a:solidFill>
              </a:rPr>
              <a:t> </a:t>
            </a:r>
            <a:r>
              <a:rPr lang="da-DK" sz="3200" b="1" dirty="0" err="1">
                <a:solidFill>
                  <a:srgbClr val="003A63"/>
                </a:solidFill>
              </a:rPr>
              <a:t>during</a:t>
            </a:r>
            <a:r>
              <a:rPr lang="da-DK" sz="3200" b="1" dirty="0">
                <a:solidFill>
                  <a:srgbClr val="003A63"/>
                </a:solidFill>
              </a:rPr>
              <a:t> </a:t>
            </a:r>
            <a:r>
              <a:rPr lang="da-DK" sz="3200" b="1" dirty="0" err="1">
                <a:solidFill>
                  <a:srgbClr val="003A63"/>
                </a:solidFill>
              </a:rPr>
              <a:t>exchanges</a:t>
            </a:r>
            <a:endParaRPr lang="da-DK" sz="3200" b="1" dirty="0">
              <a:solidFill>
                <a:srgbClr val="003A63"/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10" name="Ellipse 9"/>
          <p:cNvSpPr/>
          <p:nvPr/>
        </p:nvSpPr>
        <p:spPr bwMode="auto">
          <a:xfrm>
            <a:off x="1559272" y="2587256"/>
            <a:ext cx="2089150" cy="2160588"/>
          </a:xfrm>
          <a:prstGeom prst="ellipse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13" name="Billed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4247" y="3178303"/>
            <a:ext cx="1219200" cy="1219200"/>
          </a:xfrm>
          <a:prstGeom prst="rect">
            <a:avLst/>
          </a:prstGeom>
        </p:spPr>
      </p:pic>
      <p:sp>
        <p:nvSpPr>
          <p:cNvPr id="23" name="Tekstfelt 22"/>
          <p:cNvSpPr txBox="1"/>
          <p:nvPr/>
        </p:nvSpPr>
        <p:spPr>
          <a:xfrm>
            <a:off x="1845627" y="1925141"/>
            <a:ext cx="151644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800" dirty="0">
                <a:solidFill>
                  <a:srgbClr val="003A63"/>
                </a:solidFill>
              </a:rPr>
              <a:t>Site visits</a:t>
            </a:r>
          </a:p>
        </p:txBody>
      </p:sp>
      <p:sp>
        <p:nvSpPr>
          <p:cNvPr id="11" name="Ellipse 10"/>
          <p:cNvSpPr/>
          <p:nvPr/>
        </p:nvSpPr>
        <p:spPr bwMode="auto">
          <a:xfrm>
            <a:off x="5051933" y="2587604"/>
            <a:ext cx="2088828" cy="2160240"/>
          </a:xfrm>
          <a:prstGeom prst="ellipse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19" name="Billed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4260" y="3135637"/>
            <a:ext cx="1064174" cy="1064174"/>
          </a:xfrm>
          <a:prstGeom prst="rect">
            <a:avLst/>
          </a:prstGeom>
        </p:spPr>
      </p:pic>
      <p:sp>
        <p:nvSpPr>
          <p:cNvPr id="25" name="Tekstfelt 24"/>
          <p:cNvSpPr txBox="1"/>
          <p:nvPr/>
        </p:nvSpPr>
        <p:spPr>
          <a:xfrm>
            <a:off x="5200300" y="1901746"/>
            <a:ext cx="179209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800" dirty="0">
                <a:solidFill>
                  <a:srgbClr val="003A63"/>
                </a:solidFill>
              </a:rPr>
              <a:t>Workshops</a:t>
            </a:r>
          </a:p>
        </p:txBody>
      </p:sp>
      <p:sp>
        <p:nvSpPr>
          <p:cNvPr id="12" name="Ellipse 11"/>
          <p:cNvSpPr/>
          <p:nvPr/>
        </p:nvSpPr>
        <p:spPr bwMode="auto">
          <a:xfrm>
            <a:off x="8544272" y="2587256"/>
            <a:ext cx="2089150" cy="2160588"/>
          </a:xfrm>
          <a:prstGeom prst="ellipse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20" name="Billede 1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247" y="3057950"/>
            <a:ext cx="1219200" cy="1219200"/>
          </a:xfrm>
          <a:prstGeom prst="rect">
            <a:avLst/>
          </a:prstGeom>
        </p:spPr>
      </p:pic>
      <p:sp>
        <p:nvSpPr>
          <p:cNvPr id="26" name="Tekstfelt 25"/>
          <p:cNvSpPr txBox="1"/>
          <p:nvPr/>
        </p:nvSpPr>
        <p:spPr>
          <a:xfrm>
            <a:off x="8629450" y="1936422"/>
            <a:ext cx="1918795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800" dirty="0">
                <a:solidFill>
                  <a:srgbClr val="003A63"/>
                </a:solidFill>
              </a:rPr>
              <a:t>Brainstorms</a:t>
            </a:r>
          </a:p>
        </p:txBody>
      </p:sp>
      <p:pic>
        <p:nvPicPr>
          <p:cNvPr id="21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7104112" y="5944672"/>
            <a:ext cx="2059766" cy="73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uppe 14"/>
          <p:cNvGrpSpPr/>
          <p:nvPr/>
        </p:nvGrpSpPr>
        <p:grpSpPr>
          <a:xfrm>
            <a:off x="182283" y="170804"/>
            <a:ext cx="11855754" cy="233362"/>
            <a:chOff x="182283" y="170804"/>
            <a:chExt cx="11855754" cy="233362"/>
          </a:xfrm>
        </p:grpSpPr>
        <p:sp>
          <p:nvSpPr>
            <p:cNvPr id="16" name="Kombinationstegning 15"/>
            <p:cNvSpPr/>
            <p:nvPr/>
          </p:nvSpPr>
          <p:spPr>
            <a:xfrm>
              <a:off x="182283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Introduction</a:t>
              </a:r>
              <a:r>
                <a:rPr lang="da-DK" sz="1200" kern="1200" dirty="0">
                  <a:solidFill>
                    <a:srgbClr val="3B5463"/>
                  </a:solidFill>
                </a:rPr>
                <a:t> and Agenda</a:t>
              </a:r>
            </a:p>
          </p:txBody>
        </p:sp>
        <p:sp>
          <p:nvSpPr>
            <p:cNvPr id="17" name="Kombinationstegning 16"/>
            <p:cNvSpPr/>
            <p:nvPr/>
          </p:nvSpPr>
          <p:spPr>
            <a:xfrm>
              <a:off x="2501320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How it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started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18" name="Kombinationstegning 17"/>
            <p:cNvSpPr/>
            <p:nvPr/>
          </p:nvSpPr>
          <p:spPr>
            <a:xfrm>
              <a:off x="4820358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b="1" kern="1200" dirty="0" err="1">
                  <a:solidFill>
                    <a:srgbClr val="3B5463"/>
                  </a:solidFill>
                </a:rPr>
                <a:t>Our</a:t>
              </a:r>
              <a:r>
                <a:rPr lang="da-DK" sz="1200" b="1" kern="1200" dirty="0">
                  <a:solidFill>
                    <a:srgbClr val="3B5463"/>
                  </a:solidFill>
                </a:rPr>
                <a:t> </a:t>
              </a:r>
              <a:r>
                <a:rPr lang="da-DK" sz="1200" b="1" kern="1200" dirty="0" err="1">
                  <a:solidFill>
                    <a:srgbClr val="3B5463"/>
                  </a:solidFill>
                </a:rPr>
                <a:t>process</a:t>
              </a:r>
              <a:endParaRPr lang="da-DK" sz="1200" b="1" kern="1200" dirty="0">
                <a:solidFill>
                  <a:srgbClr val="3B5463"/>
                </a:solidFill>
              </a:endParaRPr>
            </a:p>
          </p:txBody>
        </p:sp>
        <p:sp>
          <p:nvSpPr>
            <p:cNvPr id="22" name="Kombinationstegning 21"/>
            <p:cNvSpPr/>
            <p:nvPr/>
          </p:nvSpPr>
          <p:spPr>
            <a:xfrm>
              <a:off x="7139396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Learning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experience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24" name="Kombinationstegning 23"/>
            <p:cNvSpPr/>
            <p:nvPr/>
          </p:nvSpPr>
          <p:spPr>
            <a:xfrm>
              <a:off x="9461329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Next</a:t>
              </a:r>
              <a:r>
                <a:rPr lang="da-DK" sz="1200" kern="1200" dirty="0">
                  <a:solidFill>
                    <a:srgbClr val="3B5463"/>
                  </a:solidFill>
                </a:rPr>
                <a:t> ste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52959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9010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5A01CB-28B7-49AE-B511-D6198421D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04E9715-234A-4918-8F1C-77B1A4A8F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33" y="513388"/>
            <a:ext cx="10775164" cy="936000"/>
          </a:xfrm>
        </p:spPr>
        <p:txBody>
          <a:bodyPr vert="horz"/>
          <a:lstStyle/>
          <a:p>
            <a:r>
              <a:rPr lang="en-GB" sz="3200" b="1" dirty="0"/>
              <a:t>Paving the way for a successful green collaboration </a:t>
            </a:r>
          </a:p>
        </p:txBody>
      </p:sp>
      <p:sp>
        <p:nvSpPr>
          <p:cNvPr id="16" name="Pladsholder til indhold 15"/>
          <p:cNvSpPr>
            <a:spLocks noGrp="1"/>
          </p:cNvSpPr>
          <p:nvPr>
            <p:ph sz="half" idx="2"/>
          </p:nvPr>
        </p:nvSpPr>
        <p:spPr bwMode="auto">
          <a:xfrm>
            <a:off x="6375400" y="1449388"/>
            <a:ext cx="5101440" cy="4465462"/>
          </a:xfrm>
          <a:prstGeom prst="snip2DiagRect">
            <a:avLst/>
          </a:prstGeom>
          <a:solidFill>
            <a:srgbClr val="003A63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400"/>
              </a:spcBef>
              <a:buClr>
                <a:schemeClr val="bg1"/>
              </a:buClr>
            </a:pPr>
            <a:r>
              <a:rPr lang="da-DK" sz="2000" dirty="0">
                <a:solidFill>
                  <a:schemeClr val="bg1"/>
                </a:solidFill>
              </a:rPr>
              <a:t>Make time for </a:t>
            </a:r>
            <a:r>
              <a:rPr lang="da-DK" sz="2000" dirty="0" err="1">
                <a:solidFill>
                  <a:schemeClr val="bg1"/>
                </a:solidFill>
              </a:rPr>
              <a:t>understanding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your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mutual</a:t>
            </a:r>
            <a:r>
              <a:rPr lang="da-DK" sz="2000" dirty="0">
                <a:solidFill>
                  <a:schemeClr val="bg1"/>
                </a:solidFill>
              </a:rPr>
              <a:t> systems</a:t>
            </a:r>
          </a:p>
          <a:p>
            <a:pPr>
              <a:spcBef>
                <a:spcPts val="2400"/>
              </a:spcBef>
              <a:buClr>
                <a:schemeClr val="bg1"/>
              </a:buClr>
            </a:pPr>
            <a:r>
              <a:rPr lang="da-DK" sz="2000" dirty="0" err="1">
                <a:solidFill>
                  <a:schemeClr val="bg1"/>
                </a:solidFill>
              </a:rPr>
              <a:t>Don’t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be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afraid</a:t>
            </a:r>
            <a:r>
              <a:rPr lang="da-DK" sz="2000" dirty="0">
                <a:solidFill>
                  <a:schemeClr val="bg1"/>
                </a:solidFill>
              </a:rPr>
              <a:t> to </a:t>
            </a:r>
            <a:r>
              <a:rPr lang="da-DK" sz="2000" dirty="0" err="1">
                <a:solidFill>
                  <a:schemeClr val="bg1"/>
                </a:solidFill>
              </a:rPr>
              <a:t>involve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people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outside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your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organization</a:t>
            </a:r>
            <a:endParaRPr lang="da-DK" sz="2000" dirty="0">
              <a:solidFill>
                <a:schemeClr val="bg1"/>
              </a:solidFill>
            </a:endParaRPr>
          </a:p>
          <a:p>
            <a:pPr>
              <a:spcBef>
                <a:spcPts val="2400"/>
              </a:spcBef>
              <a:buClr>
                <a:schemeClr val="bg1"/>
              </a:buClr>
            </a:pPr>
            <a:r>
              <a:rPr lang="da-DK" sz="2000" dirty="0">
                <a:solidFill>
                  <a:schemeClr val="bg1"/>
                </a:solidFill>
              </a:rPr>
              <a:t>Make an </a:t>
            </a:r>
            <a:r>
              <a:rPr lang="da-DK" sz="2000" dirty="0" err="1">
                <a:solidFill>
                  <a:schemeClr val="bg1"/>
                </a:solidFill>
              </a:rPr>
              <a:t>active</a:t>
            </a:r>
            <a:r>
              <a:rPr lang="da-DK" sz="2000" dirty="0">
                <a:solidFill>
                  <a:schemeClr val="bg1"/>
                </a:solidFill>
              </a:rPr>
              <a:t> programme </a:t>
            </a:r>
          </a:p>
          <a:p>
            <a:pPr>
              <a:spcBef>
                <a:spcPts val="2400"/>
              </a:spcBef>
              <a:buClr>
                <a:schemeClr val="bg1"/>
              </a:buClr>
            </a:pPr>
            <a:r>
              <a:rPr lang="da-DK" sz="2000" dirty="0">
                <a:solidFill>
                  <a:schemeClr val="bg1"/>
                </a:solidFill>
              </a:rPr>
              <a:t>Put </a:t>
            </a:r>
            <a:r>
              <a:rPr lang="da-DK" sz="2000" dirty="0" err="1">
                <a:solidFill>
                  <a:schemeClr val="bg1"/>
                </a:solidFill>
              </a:rPr>
              <a:t>practitioners</a:t>
            </a:r>
            <a:r>
              <a:rPr lang="da-DK" sz="2000" dirty="0">
                <a:solidFill>
                  <a:schemeClr val="bg1"/>
                </a:solidFill>
              </a:rPr>
              <a:t> in the </a:t>
            </a:r>
            <a:r>
              <a:rPr lang="da-DK" sz="2000" dirty="0" err="1">
                <a:solidFill>
                  <a:schemeClr val="bg1"/>
                </a:solidFill>
              </a:rPr>
              <a:t>room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together</a:t>
            </a:r>
            <a:r>
              <a:rPr lang="da-DK" sz="2000" dirty="0">
                <a:solidFill>
                  <a:schemeClr val="bg1"/>
                </a:solidFill>
              </a:rPr>
              <a:t> – </a:t>
            </a:r>
            <a:r>
              <a:rPr lang="da-DK" sz="2000" dirty="0" err="1">
                <a:solidFill>
                  <a:schemeClr val="bg1"/>
                </a:solidFill>
              </a:rPr>
              <a:t>that’s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where</a:t>
            </a:r>
            <a:r>
              <a:rPr lang="da-DK" sz="2000" dirty="0">
                <a:solidFill>
                  <a:schemeClr val="bg1"/>
                </a:solidFill>
              </a:rPr>
              <a:t> the </a:t>
            </a:r>
            <a:r>
              <a:rPr lang="da-DK" sz="2000" dirty="0" err="1">
                <a:solidFill>
                  <a:schemeClr val="bg1"/>
                </a:solidFill>
              </a:rPr>
              <a:t>magic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  <a:r>
              <a:rPr lang="da-DK" sz="2000" dirty="0" err="1">
                <a:solidFill>
                  <a:schemeClr val="bg1"/>
                </a:solidFill>
              </a:rPr>
              <a:t>happens</a:t>
            </a:r>
            <a:endParaRPr lang="da-DK" sz="2000" dirty="0">
              <a:solidFill>
                <a:schemeClr val="bg1"/>
              </a:solidFill>
            </a:endParaRPr>
          </a:p>
        </p:txBody>
      </p:sp>
      <p:pic>
        <p:nvPicPr>
          <p:cNvPr id="9" name="Content Placeholder 2"/>
          <p:cNvPicPr>
            <a:picLocks noGrp="1" noChangeAspect="1"/>
          </p:cNvPicPr>
          <p:nvPr>
            <p:ph sz="half" idx="1"/>
            <p:custDataLst>
              <p:tags r:id="rId4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" t="32418" r="-123" b="9378"/>
          <a:stretch/>
        </p:blipFill>
        <p:spPr>
          <a:xfrm>
            <a:off x="701676" y="1450800"/>
            <a:ext cx="5111750" cy="4464000"/>
          </a:xfrm>
        </p:spPr>
      </p:pic>
      <p:sp>
        <p:nvSpPr>
          <p:cNvPr id="2" name="Tekstfelt 1"/>
          <p:cNvSpPr txBox="1"/>
          <p:nvPr/>
        </p:nvSpPr>
        <p:spPr>
          <a:xfrm>
            <a:off x="6844379" y="1563709"/>
            <a:ext cx="257923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000" b="1" i="1" dirty="0">
                <a:solidFill>
                  <a:schemeClr val="bg1"/>
                </a:solidFill>
              </a:rPr>
              <a:t>Learning </a:t>
            </a:r>
            <a:r>
              <a:rPr lang="da-DK" sz="2000" b="1" i="1" dirty="0" err="1">
                <a:solidFill>
                  <a:schemeClr val="bg1"/>
                </a:solidFill>
              </a:rPr>
              <a:t>experience</a:t>
            </a:r>
            <a:r>
              <a:rPr lang="da-DK" sz="2000" b="1" i="1" dirty="0">
                <a:solidFill>
                  <a:schemeClr val="bg1"/>
                </a:solidFill>
              </a:rPr>
              <a:t>:</a:t>
            </a:r>
          </a:p>
        </p:txBody>
      </p:sp>
      <p:pic>
        <p:nvPicPr>
          <p:cNvPr id="10" name="Picture 26" descr="Ministry of the Interior and Kingdom Relations (BZK) Logo">
            <a:extLst>
              <a:ext uri="{FF2B5EF4-FFF2-40B4-BE49-F238E27FC236}">
                <a16:creationId xmlns:a16="http://schemas.microsoft.com/office/drawing/2014/main" id="{DE10515C-81D9-458D-B107-FFE5E4AC99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27"/>
          <a:stretch/>
        </p:blipFill>
        <p:spPr bwMode="auto">
          <a:xfrm>
            <a:off x="7104112" y="5944672"/>
            <a:ext cx="2059766" cy="73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e 10"/>
          <p:cNvGrpSpPr/>
          <p:nvPr/>
        </p:nvGrpSpPr>
        <p:grpSpPr>
          <a:xfrm>
            <a:off x="182283" y="170804"/>
            <a:ext cx="11855754" cy="233362"/>
            <a:chOff x="182283" y="170804"/>
            <a:chExt cx="11855754" cy="233362"/>
          </a:xfrm>
        </p:grpSpPr>
        <p:sp>
          <p:nvSpPr>
            <p:cNvPr id="12" name="Kombinationstegning 11"/>
            <p:cNvSpPr/>
            <p:nvPr/>
          </p:nvSpPr>
          <p:spPr>
            <a:xfrm>
              <a:off x="182283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Introduction</a:t>
              </a:r>
              <a:r>
                <a:rPr lang="da-DK" sz="1200" kern="1200" dirty="0">
                  <a:solidFill>
                    <a:srgbClr val="3B5463"/>
                  </a:solidFill>
                </a:rPr>
                <a:t> and Agenda</a:t>
              </a:r>
            </a:p>
          </p:txBody>
        </p:sp>
        <p:sp>
          <p:nvSpPr>
            <p:cNvPr id="13" name="Kombinationstegning 12"/>
            <p:cNvSpPr/>
            <p:nvPr/>
          </p:nvSpPr>
          <p:spPr>
            <a:xfrm>
              <a:off x="2501320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>
                  <a:solidFill>
                    <a:srgbClr val="3B5463"/>
                  </a:solidFill>
                </a:rPr>
                <a:t>How it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started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14" name="Kombinationstegning 13"/>
            <p:cNvSpPr/>
            <p:nvPr/>
          </p:nvSpPr>
          <p:spPr>
            <a:xfrm>
              <a:off x="4820358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Our</a:t>
              </a:r>
              <a:r>
                <a:rPr lang="da-DK" sz="1200" kern="1200" dirty="0">
                  <a:solidFill>
                    <a:srgbClr val="3B5463"/>
                  </a:solidFill>
                </a:rPr>
                <a:t> </a:t>
              </a:r>
              <a:r>
                <a:rPr lang="da-DK" sz="1200" kern="1200" dirty="0" err="1">
                  <a:solidFill>
                    <a:srgbClr val="3B5463"/>
                  </a:solidFill>
                </a:rPr>
                <a:t>process</a:t>
              </a:r>
              <a:endParaRPr lang="da-DK" sz="1200" kern="1200" dirty="0">
                <a:solidFill>
                  <a:srgbClr val="3B5463"/>
                </a:solidFill>
              </a:endParaRPr>
            </a:p>
          </p:txBody>
        </p:sp>
        <p:sp>
          <p:nvSpPr>
            <p:cNvPr id="15" name="Kombinationstegning 14"/>
            <p:cNvSpPr/>
            <p:nvPr/>
          </p:nvSpPr>
          <p:spPr>
            <a:xfrm>
              <a:off x="7139396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b="1" kern="1200" dirty="0">
                  <a:solidFill>
                    <a:srgbClr val="3B5463"/>
                  </a:solidFill>
                </a:rPr>
                <a:t>Learning </a:t>
              </a:r>
              <a:r>
                <a:rPr lang="da-DK" sz="1200" b="1" kern="1200" dirty="0" err="1">
                  <a:solidFill>
                    <a:srgbClr val="3B5463"/>
                  </a:solidFill>
                </a:rPr>
                <a:t>experience</a:t>
              </a:r>
              <a:endParaRPr lang="da-DK" sz="1200" b="1" kern="1200" dirty="0">
                <a:solidFill>
                  <a:srgbClr val="3B5463"/>
                </a:solidFill>
              </a:endParaRPr>
            </a:p>
          </p:txBody>
        </p:sp>
        <p:sp>
          <p:nvSpPr>
            <p:cNvPr id="17" name="Kombinationstegning 16"/>
            <p:cNvSpPr/>
            <p:nvPr/>
          </p:nvSpPr>
          <p:spPr>
            <a:xfrm>
              <a:off x="9461329" y="170804"/>
              <a:ext cx="2576708" cy="233362"/>
            </a:xfrm>
            <a:custGeom>
              <a:avLst/>
              <a:gdLst>
                <a:gd name="connsiteX0" fmla="*/ 0 w 2576708"/>
                <a:gd name="connsiteY0" fmla="*/ 0 h 233362"/>
                <a:gd name="connsiteX1" fmla="*/ 2460027 w 2576708"/>
                <a:gd name="connsiteY1" fmla="*/ 0 h 233362"/>
                <a:gd name="connsiteX2" fmla="*/ 2576708 w 2576708"/>
                <a:gd name="connsiteY2" fmla="*/ 116681 h 233362"/>
                <a:gd name="connsiteX3" fmla="*/ 2460027 w 2576708"/>
                <a:gd name="connsiteY3" fmla="*/ 233362 h 233362"/>
                <a:gd name="connsiteX4" fmla="*/ 0 w 2576708"/>
                <a:gd name="connsiteY4" fmla="*/ 233362 h 233362"/>
                <a:gd name="connsiteX5" fmla="*/ 116681 w 2576708"/>
                <a:gd name="connsiteY5" fmla="*/ 116681 h 233362"/>
                <a:gd name="connsiteX6" fmla="*/ 0 w 2576708"/>
                <a:gd name="connsiteY6" fmla="*/ 0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6708" h="233362">
                  <a:moveTo>
                    <a:pt x="0" y="0"/>
                  </a:moveTo>
                  <a:lnTo>
                    <a:pt x="2460027" y="0"/>
                  </a:lnTo>
                  <a:lnTo>
                    <a:pt x="2576708" y="116681"/>
                  </a:lnTo>
                  <a:lnTo>
                    <a:pt x="2460027" y="233362"/>
                  </a:lnTo>
                  <a:lnTo>
                    <a:pt x="0" y="233362"/>
                  </a:lnTo>
                  <a:lnTo>
                    <a:pt x="116681" y="1166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D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4687" tIns="16002" rIns="132683" bIns="16002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1200" kern="1200" dirty="0" err="1">
                  <a:solidFill>
                    <a:srgbClr val="3B5463"/>
                  </a:solidFill>
                </a:rPr>
                <a:t>Next</a:t>
              </a:r>
              <a:r>
                <a:rPr lang="da-DK" sz="1200" kern="1200" dirty="0">
                  <a:solidFill>
                    <a:srgbClr val="3B5463"/>
                  </a:solidFill>
                </a:rPr>
                <a:t> step</a:t>
              </a:r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59986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80597\AppData\Local\Temp\Templafy\PowerPointVsto\Assets\ce86ffae-bbe4-4626-9218-951c1faadd66.jp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836181412844856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80597\AppData\Local\Temp\Templafy\PowerPointVsto\Assets\1d754739-018c-4967-ab99-8600bcbdea16.jp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80597\AppData\Local\Temp\Templafy\PowerPointVsto\Assets\3f07e1c0-2052-49e5-8652-eea6241d962d.jp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80597\AppData\Local\Temp\Templafy\PowerPointVsto\Assets\COLOURBOX43664335.p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80597\AppData\Local\Temp\Templafy\PowerPointVsto\Assets\d6c74157-d375-40f5-94e7-7791187ec771.jp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80597\AppData\Local\Temp\Templafy\PowerPointVsto\Assets\COLOURBOX43664335.p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M Økonomistyrelsen">
      <a:dk1>
        <a:srgbClr val="000000"/>
      </a:dk1>
      <a:lt1>
        <a:srgbClr val="FFFFFF"/>
      </a:lt1>
      <a:dk2>
        <a:srgbClr val="066B43"/>
      </a:dk2>
      <a:lt2>
        <a:srgbClr val="F6F6F6"/>
      </a:lt2>
      <a:accent1>
        <a:srgbClr val="3B5463"/>
      </a:accent1>
      <a:accent2>
        <a:srgbClr val="B3E8CA"/>
      </a:accent2>
      <a:accent3>
        <a:srgbClr val="85909A"/>
      </a:accent3>
      <a:accent4>
        <a:srgbClr val="ED5E66"/>
      </a:accent4>
      <a:accent5>
        <a:srgbClr val="91DDFF"/>
      </a:accent5>
      <a:accent6>
        <a:srgbClr val="E0C86B"/>
      </a:accent6>
      <a:hlink>
        <a:srgbClr val="3E72A6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custClrLst>
    <a:custClr name="Græs">
      <a:srgbClr val="00856A"/>
    </a:custClr>
    <a:custClr name="Grøn">
      <a:srgbClr val="00B08C"/>
    </a:custClr>
    <a:custClr name="Lys grøn">
      <a:srgbClr val="B3E8CA"/>
    </a:custClr>
    <a:custClr name="Blå">
      <a:srgbClr val="4E88D3"/>
    </a:custClr>
    <a:custClr name="Lys blå">
      <a:srgbClr val="81B6ED"/>
    </a:custClr>
    <a:custClr name="Himmelblå">
      <a:srgbClr val="3DAFD8"/>
    </a:custClr>
    <a:custClr name="Lys himmelblå">
      <a:srgbClr val="91DD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Trafikrød">
      <a:srgbClr val="C00000"/>
    </a:custClr>
    <a:custClr name="Laks">
      <a:srgbClr val="ED5E66"/>
    </a:custClr>
    <a:custClr name="Rosa">
      <a:srgbClr val="FFC8C8"/>
    </a:custClr>
    <a:custClr name="Lilla">
      <a:srgbClr val="B43877"/>
    </a:custClr>
    <a:custClr name="Lys lilla">
      <a:srgbClr val="DC8AB9"/>
    </a:custClr>
    <a:custClr name="Lys lavendel">
      <a:srgbClr val="C2C0F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ennap">
      <a:srgbClr val="B09400"/>
    </a:custClr>
    <a:custClr name="Lys sennap">
      <a:srgbClr val="E0C86B"/>
    </a:custClr>
    <a:custClr name="Solgul">
      <a:srgbClr val="FAE549"/>
    </a:custClr>
    <a:custClr name="Lys solgul">
      <a:srgbClr val="FFF5C1"/>
    </a:custClr>
    <a:custClr name="Latte">
      <a:srgbClr val="D5C7BA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råblå 1">
      <a:srgbClr val="3B5463"/>
    </a:custClr>
    <a:custClr name="Mørkegrå">
      <a:srgbClr val="676769"/>
    </a:custClr>
    <a:custClr name="Gråblå 2">
      <a:srgbClr val="57707F"/>
    </a:custClr>
    <a:custClr name="Mørk sky">
      <a:srgbClr val="85909A"/>
    </a:custClr>
    <a:custClr name="Gråblå 3">
      <a:srgbClr val="B8CBD6"/>
    </a:custClr>
    <a:custClr name="Grå">
      <a:srgbClr val="DBD9D6"/>
    </a:custClr>
    <a:custClr name="Gråblå 4">
      <a:srgbClr val="EAEFF2"/>
    </a:custClr>
    <a:custClr name="Lys grå">
      <a:srgbClr val="F6F6F6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2.xml><?xml version="1.0" encoding="utf-8"?>
<a:theme xmlns:a="http://schemas.openxmlformats.org/drawingml/2006/main" name="Office Theme">
  <a:themeElements>
    <a:clrScheme name="FM">
      <a:dk1>
        <a:srgbClr val="000000"/>
      </a:dk1>
      <a:lt1>
        <a:srgbClr val="FFFFFF"/>
      </a:lt1>
      <a:dk2>
        <a:srgbClr val="031D5C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A4A4A4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Græs">
      <a:srgbClr val="00856A"/>
    </a:custClr>
    <a:custClr name="Grøn">
      <a:srgbClr val="00B08C"/>
    </a:custClr>
    <a:custClr name="Lys grøn">
      <a:srgbClr val="B3E8CA"/>
    </a:custClr>
    <a:custClr name="Blå">
      <a:srgbClr val="4E88D3"/>
    </a:custClr>
    <a:custClr name="Lys blå">
      <a:srgbClr val="81B6ED"/>
    </a:custClr>
    <a:custClr name="Himmelblå">
      <a:srgbClr val="3DAFD8"/>
    </a:custClr>
    <a:custClr name="Lys himmelblå">
      <a:srgbClr val="91DD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Trafikrød">
      <a:srgbClr val="C00000"/>
    </a:custClr>
    <a:custClr name="Laks">
      <a:srgbClr val="ED5E66"/>
    </a:custClr>
    <a:custClr name="Rosa">
      <a:srgbClr val="FFC8C8"/>
    </a:custClr>
    <a:custClr name="Lilla">
      <a:srgbClr val="B43877"/>
    </a:custClr>
    <a:custClr name="Lys lilla">
      <a:srgbClr val="DC8AB9"/>
    </a:custClr>
    <a:custClr name="Lys lavendel">
      <a:srgbClr val="C2C0F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ennap">
      <a:srgbClr val="B09400"/>
    </a:custClr>
    <a:custClr name="Lys sennap">
      <a:srgbClr val="E0C86B"/>
    </a:custClr>
    <a:custClr name="Solgul">
      <a:srgbClr val="FAE549"/>
    </a:custClr>
    <a:custClr name="Lys solgul">
      <a:srgbClr val="FFF5C1"/>
    </a:custClr>
    <a:custClr name="Latte">
      <a:srgbClr val="D5C7BA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råblå 1">
      <a:srgbClr val="3B5463"/>
    </a:custClr>
    <a:custClr name="Mørkegrå">
      <a:srgbClr val="676769"/>
    </a:custClr>
    <a:custClr name="Gråblå 2">
      <a:srgbClr val="57707F"/>
    </a:custClr>
    <a:custClr name="Mørk sky">
      <a:srgbClr val="85909A"/>
    </a:custClr>
    <a:custClr name="Gråblå 3">
      <a:srgbClr val="B8CBD6"/>
    </a:custClr>
    <a:custClr name="Grå">
      <a:srgbClr val="DBD9D6"/>
    </a:custClr>
    <a:custClr name="Gråblå 4">
      <a:srgbClr val="EAEFF2"/>
    </a:custClr>
    <a:custClr name="Lys grå">
      <a:srgbClr val="F6F6F6"/>
    </a:custClr>
    <a:custClr name="Color has no name">
      <a:srgbClr val="FFFFFF"/>
    </a:custClr>
    <a:custClr name="Color has no name">
      <a:srgbClr val="FFFFFF"/>
    </a:custClr>
  </a:custClrLst>
</a:theme>
</file>

<file path=ppt/theme/theme3.xml><?xml version="1.0" encoding="utf-8"?>
<a:theme xmlns:a="http://schemas.openxmlformats.org/drawingml/2006/main" name="Office Theme">
  <a:themeElements>
    <a:clrScheme name="FM">
      <a:dk1>
        <a:srgbClr val="000000"/>
      </a:dk1>
      <a:lt1>
        <a:srgbClr val="FFFFFF"/>
      </a:lt1>
      <a:dk2>
        <a:srgbClr val="031D5C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A4A4A4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Græs">
      <a:srgbClr val="00856A"/>
    </a:custClr>
    <a:custClr name="Grøn">
      <a:srgbClr val="00B08C"/>
    </a:custClr>
    <a:custClr name="Lys grøn">
      <a:srgbClr val="B3E8CA"/>
    </a:custClr>
    <a:custClr name="Blå">
      <a:srgbClr val="4E88D3"/>
    </a:custClr>
    <a:custClr name="Lys blå">
      <a:srgbClr val="81B6ED"/>
    </a:custClr>
    <a:custClr name="Himmelblå">
      <a:srgbClr val="3DAFD8"/>
    </a:custClr>
    <a:custClr name="Lys himmelblå">
      <a:srgbClr val="91DD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Trafikrød">
      <a:srgbClr val="C00000"/>
    </a:custClr>
    <a:custClr name="Laks">
      <a:srgbClr val="ED5E66"/>
    </a:custClr>
    <a:custClr name="Rosa">
      <a:srgbClr val="FFC8C8"/>
    </a:custClr>
    <a:custClr name="Lilla">
      <a:srgbClr val="B43877"/>
    </a:custClr>
    <a:custClr name="Lys lilla">
      <a:srgbClr val="DC8AB9"/>
    </a:custClr>
    <a:custClr name="Lys lavendel">
      <a:srgbClr val="C2C0F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ennap">
      <a:srgbClr val="B09400"/>
    </a:custClr>
    <a:custClr name="Lys sennap">
      <a:srgbClr val="E0C86B"/>
    </a:custClr>
    <a:custClr name="Solgul">
      <a:srgbClr val="FAE549"/>
    </a:custClr>
    <a:custClr name="Lys solgul">
      <a:srgbClr val="FFF5C1"/>
    </a:custClr>
    <a:custClr name="Latte">
      <a:srgbClr val="D5C7BA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råblå 1">
      <a:srgbClr val="3B5463"/>
    </a:custClr>
    <a:custClr name="Mørkegrå">
      <a:srgbClr val="676769"/>
    </a:custClr>
    <a:custClr name="Gråblå 2">
      <a:srgbClr val="57707F"/>
    </a:custClr>
    <a:custClr name="Mørk sky">
      <a:srgbClr val="85909A"/>
    </a:custClr>
    <a:custClr name="Gråblå 3">
      <a:srgbClr val="B8CBD6"/>
    </a:custClr>
    <a:custClr name="Grå">
      <a:srgbClr val="DBD9D6"/>
    </a:custClr>
    <a:custClr name="Gråblå 4">
      <a:srgbClr val="EAEFF2"/>
    </a:custClr>
    <a:custClr name="Lys grå">
      <a:srgbClr val="F6F6F6"/>
    </a:custClr>
    <a:custClr name="Color has no name">
      <a:srgbClr val="FFFFFF"/>
    </a:custClr>
    <a:custClr name="Color has no name">
      <a:srgbClr val="FFFFF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0,"isValidatorEnabled":false,"isLocked":false,"elementsMetadata":[],"slideId":"637438051029871701","enableDocumentContentUpdater":true,"version":"1.14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3A3E93BFF5E64B81FD2752BF1BECD6" ma:contentTypeVersion="14" ma:contentTypeDescription="Create a new document." ma:contentTypeScope="" ma:versionID="da4e80a661110df4d7392d0b0ad65c8d">
  <xsd:schema xmlns:xsd="http://www.w3.org/2001/XMLSchema" xmlns:xs="http://www.w3.org/2001/XMLSchema" xmlns:p="http://schemas.microsoft.com/office/2006/metadata/properties" xmlns:ns2="4d8d8558-386b-4b7a-9934-ee7da0a43094" xmlns:ns3="5142aa42-1af1-41a6-85f2-be9d08ee8af9" targetNamespace="http://schemas.microsoft.com/office/2006/metadata/properties" ma:root="true" ma:fieldsID="76682d35caba6dd78801367249e3e9fe" ns2:_="" ns3:_="">
    <xsd:import namespace="4d8d8558-386b-4b7a-9934-ee7da0a43094"/>
    <xsd:import namespace="5142aa42-1af1-41a6-85f2-be9d08ee8a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8d8558-386b-4b7a-9934-ee7da0a430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42aa42-1af1-41a6-85f2-be9d08ee8af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.xml><?xml version="1.0" encoding="utf-8"?>
<TemplafySlideTemplateConfiguration><![CDATA[{"slideVersion":0,"isValidatorEnabled":false,"isLocked":false,"elementsMetadata":[],"slideId":"637438051030340499","enableDocumentContentUpdater":true,"version":"1.14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0,"isValidatorEnabled":false,"isLocked":false,"elementsMetadata":[],"slideId":"637438051030027915","enableDocumentContentUpdater":true,"version":"1.14"}]]></TemplafySlideTemplateConfiguration>
</file>

<file path=customXml/item17.xml><?xml version="1.0" encoding="utf-8"?>
<TemplafySlideTemplateConfiguration><![CDATA[{"slideVersion":0,"isValidatorEnabled":false,"isLocked":false,"elementsMetadata":[],"slideId":"637495927840220747","enableDocumentContentUpdater":true,"version":"1.12"}]]></TemplafySlideTemplateConfiguration>
</file>

<file path=customXml/item18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0,"isValidatorEnabled":false,"isLocked":false,"elementsMetadata":[],"slideId":"637438051029871702","enableDocumentContentUpdater":true,"version":"1.14"}]]></TemplafySlideTemplateConfiguration>
</file>

<file path=customXml/item20.xml><?xml version="1.0" encoding="utf-8"?>
<TemplafySlideTemplateConfiguration><![CDATA[{"slideVersion":0,"isValidatorEnabled":false,"isLocked":false,"elementsMetadata":[],"slideId":"637438051030184281","enableDocumentContentUpdater":true,"version":"1.14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0,"isValidatorEnabled":false,"isLocked":false,"elementsMetadata":[],"slideId":"638373805077397708","enableDocumentContentUpdater":true,"version":"1.12"}]]></TemplafySlideTemplateConfiguration>
</file>

<file path=customXml/item23.xml><?xml version="1.0" encoding="utf-8"?>
<TemplafySlideTemplateConfiguration><![CDATA[{"slideVersion":0,"isValidatorEnabled":false,"isLocked":false,"elementsMetadata":[],"slideId":"637438051030184282","enableDocumentContentUpdater":true,"version":"1.14"}]]></TemplafySlideTemplateConfiguration>
</file>

<file path=customXml/item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.xml><?xml version="1.0" encoding="utf-8"?>
<TemplafySlideTemplateConfiguration><![CDATA[{"slideVersion":0,"isValidatorEnabled":false,"isLocked":false,"elementsMetadata":[],"slideId":"637438051030496761","enableDocumentContentUpdater":true,"version":"1.14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TemplateConfiguration><![CDATA[{"elementsMetadata":[{"type":"shape","id":"c5603a45-8eb4-4de8-ace3-56f8c361ff6d","elementConfiguration":{"inheritDimensions":"inheritNone","width":"7.04 cm","height":"1.82 cm","binding":"UserProfile.LogoInsertion.PpLogoName","disableUpdates":false,"type":"image"}},{"type":"shape","id":"1bc1a501-0a8a-467a-a9f6-0198ab0b4039","elementConfiguration":{"inheritDimensions":"inheritNone","width":"7.04 cm","height":"1.82 cm","binding":"UserProfile.LogoInsertion.PpLogoName","disableUpdates":false,"type":"image"}},{"type":"shape","id":"dc983cd6-abad-46b3-af66-6a642ae192cf","elementConfiguration":{"inheritDimensions":"inheritNone","width":"7.04 cm","height":"1.82 cm","binding":"UserProfile.LogoInsertion.PpLogoNameWhite","disableUpdates":false,"type":"image"}},{"type":"shape","id":"b81e12d8-d04e-4b35-903e-3fa0c9b9b62b","elementConfiguration":{"inheritDimensions":"inheritNone","width":"7.04 cm","height":"1.82 cm","binding":"UserProfile.LogoInsertion.PpLogoNameWhite","disableUpdates":false,"type":"image"}},{"type":"shape","id":"9f4a2542-2f14-418a-ba4c-9689861847e6","elementConfiguration":{"inheritDimensions":"inheritNone","width":"7.04 cm","height":"1.82 cm","binding":"UserProfile.LogoInsertion.PpLogoNameWhite","disableUpdates":false,"type":"image"}},{"type":"shape","id":"831b238e-1b6b-48bb-8212-b981859b081e","elementConfiguration":{"inheritDimensions":"inheritNone","width":"7.57 cm","height":"1.96 cm","binding":"UserProfile.LogoInsertion.PpLogoName","disableUpdates":false,"type":"image"}},{"type":"shape","id":"607bc982-10f0-4034-8b44-fbeb6119861b","elementConfiguration":{"inheritDimensions":"inheritNone","width":"7.04 cm","height":"1.82 cm","binding":"UserProfile.LogoInsertion.PpLogoNameWhite","disableUpdates":false,"type":"image"}},{"type":"shape","id":"4f41c3ab-bb58-4fcd-953a-ba6818d070d9","elementConfiguration":{"inheritDimensions":"inheritNone","width":"7.04 cm","height":"1.82 cm","binding":"UserProfile.LogoInsertion.PpLogoNameWhite","disableUpdates":false,"type":"image"}},{"type":"shape","id":"02a12895-1b45-4e8e-937c-c10e2a22f211","elementConfiguration":{"inheritDimensions":"inheritNone","width":"7.57 cm","height":"1.96 cm","binding":"UserProfile.LogoInsertion.PpLogoNameWhite","disableUpdates":false,"type":"image"}},{"type":"shape","id":"79cb5b1a-081b-44b4-95fc-d0a7baad71cf","elementConfiguration":{"inheritDimensions":"inheritNone","width":"7.04 cm","height":"1.82 cm","binding":"UserProfile.LogoInsertion.PpLogoNameWhite","disableUpdates":false,"type":"image"}},{"type":"shape","id":"8ab15afa-f18c-4407-be24-8b2dc5445cff","elementConfiguration":{"inheritDimensions":"inheritNone","width":"7.04 cm","height":"1.82 cm","binding":"UserProfile.LogoInsertion.PpLogoNameWhite","disableUpdates":false,"type":"image"}}],"transformationConfigurations":[{"colorTheme":"{{UserProfile.Office.ColorTheme}}","originalColorThemeXml":"<a:clrScheme name=\"FM Finansministeriet\" xmlns:a=\"http://schemas.openxmlformats.org/drawingml/2006/main\"><a:dk1><a:srgbClr val=\"000000\" /></a:dk1><a:lt1><a:srgbClr val=\"FFFFFF\" /></a:lt1><a:dk2><a:srgbClr val=\"031D5C\" /></a:dk2><a:lt2><a:srgbClr val=\"F6F6F6\" /></a:lt2><a:accent1><a:srgbClr val=\"3B5463\" /></a:accent1><a:accent2><a:srgbClr val=\"B3E8CA\" /></a:accent2><a:accent3><a:srgbClr val=\"85909A\" /></a:accent3><a:accent4><a:srgbClr val=\"ED5E66\" /></a:accent4><a:accent5><a:srgbClr val=\"91DDFF\" /></a:accent5><a:accent6><a:srgbClr val=\"E0C86B\" /></a:accent6><a:hlink><a:srgbClr val=\"3E72A6\" /></a:hlink><a:folHlink><a:srgbClr val=\"000000\" /></a:folHlink></a:clrScheme>","disableUpdates":false,"type":"colorTheme"},{"language":"{{DocumentLanguage}}","disableUpdates":false,"type":"proofingLanguage"}],"templateName":"","templateDescription":"","enableDocumentContentUpdater":true,"version":"1.12"}]]></TemplafyTemplateConfiguration>
</file>

<file path=customXml/item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8d8558-386b-4b7a-9934-ee7da0a43094">
      <Terms xmlns="http://schemas.microsoft.com/office/infopath/2007/PartnerControls"/>
    </lcf76f155ced4ddcb4097134ff3c332f>
  </documentManagement>
</p:properties>
</file>

<file path=customXml/item29.xml><?xml version="1.0" encoding="utf-8"?>
<TemplafySlideTemplateConfiguration><![CDATA[{"slideVersion":0,"isValidatorEnabled":false,"isLocked":false,"elementsMetadata":[],"slideId":"637438051030184283","enableDocumentContentUpdater":true,"version":"1.14"}]]></TemplafySlideTemplate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FormConfiguration><![CDATA[{"formFields":[],"formDataEntries":[]}]]></TemplafySlideForm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slideVersion":0,"isValidatorEnabled":false,"isLocked":false,"elementsMetadata":[],"slideId":"637934740687434259","enableDocumentContentUpdater":true,"version":"1.12"}]]></TemplafySlideTemplateConfiguration>
</file>

<file path=customXml/item34.xml><?xml version="1.0" encoding="utf-8"?>
<TemplafyFormConfiguration><![CDATA[{"formFields":[],"formDataEntries":[]}]]></TemplafyFormConfiguration>
</file>

<file path=customXml/item35.xml><?xml version="1.0" encoding="utf-8"?>
<TemplafySlideTemplateConfiguration><![CDATA[{"slideVersion":0,"isValidatorEnabled":false,"isLocked":false,"elementsMetadata":[],"slideId":"637438051030340500","enableDocumentContentUpdater":true,"version":"1.14"}]]></TemplafySlideTemplate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TemplateConfiguration><![CDATA[{"slideVersion":0,"isValidatorEnabled":false,"isLocked":false,"elementsMetadata":[],"slideId":"637934740687903081","enableDocumentContentUpdater":true,"version":"1.12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TemplateConfiguration><![CDATA[{"slideVersion":0,"isValidatorEnabled":false,"isLocked":false,"elementsMetadata":[],"slideId":"637497795436925159","enableDocumentContentUpdater":true,"version":"1.12"}]]></TemplafySlideTemplateConfiguration>
</file>

<file path=customXml/item4.xml><?xml version="1.0" encoding="utf-8"?>
<TemplafySlideTemplateConfiguration><![CDATA[{"slideVersion":0,"isValidatorEnabled":false,"isLocked":false,"elementsMetadata":[],"slideId":"637438051029715440","enableDocumentContentUpdater":true,"version":"1.14"}]]></TemplafySlideTemplateConfiguration>
</file>

<file path=customXml/item40.xml><?xml version="1.0" encoding="utf-8"?>
<TemplafySlideFormConfiguration><![CDATA[{"formFields":[],"formDataEntries":[]}]]></TemplafySlideFormConfiguration>
</file>

<file path=customXml/item41.xml><?xml version="1.0" encoding="utf-8"?>
<TemplafySlideTemplateConfiguration><![CDATA[{"slideVersion":0,"isValidatorEnabled":false,"isLocked":false,"elementsMetadata":[],"slideId":"637438051029871703","enableDocumentContentUpdater":true,"version":"1.14"}]]></TemplafySlideTemplateConfiguration>
</file>

<file path=customXml/item42.xml><?xml version="1.0" encoding="utf-8"?>
<TemplafySlideTemplateConfiguration><![CDATA[{"slideVersion":0,"isValidatorEnabled":false,"isLocked":false,"elementsMetadata":[],"slideId":"637438051030184280","enableDocumentContentUpdater":true,"version":"1.14"}]]></TemplafySlideTemplateConfiguration>
</file>

<file path=customXml/item43.xml><?xml version="1.0" encoding="utf-8"?>
<TemplafySlideFormConfiguration><![CDATA[{"formFields":[],"formDataEntries":[]}]]></TemplafySlideForm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TemplateConfiguration><![CDATA[{"slideVersion":0,"isValidatorEnabled":false,"isLocked":false,"elementsMetadata":[],"slideId":"638373805077241464","enableDocumentContentUpdater":true,"version":"1.12"}]]></TemplafySlideTemplate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TemplateConfiguration><![CDATA[{"slideVersion":0,"isValidatorEnabled":false,"isLocked":false,"elementsMetadata":[],"slideId":"638373805077241464","enableDocumentContentUpdater":true,"version":"1.12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0,"isValidatorEnabled":false,"isLocked":false,"elementsMetadata":[],"slideId":"637438051030027916","enableDocumentContentUpdater":true,"version":"1.14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B9B68C5E-3019-41E7-85DB-1BD2298AE8BC}">
  <ds:schemaRefs/>
</ds:datastoreItem>
</file>

<file path=customXml/itemProps10.xml><?xml version="1.0" encoding="utf-8"?>
<ds:datastoreItem xmlns:ds="http://schemas.openxmlformats.org/officeDocument/2006/customXml" ds:itemID="{D373AA0F-D4E2-481B-AC62-26AE45B15EE5}">
  <ds:schemaRefs/>
</ds:datastoreItem>
</file>

<file path=customXml/itemProps11.xml><?xml version="1.0" encoding="utf-8"?>
<ds:datastoreItem xmlns:ds="http://schemas.openxmlformats.org/officeDocument/2006/customXml" ds:itemID="{C2955F93-33E5-4F8B-99B1-EF33470CEAE9}">
  <ds:schemaRefs/>
</ds:datastoreItem>
</file>

<file path=customXml/itemProps12.xml><?xml version="1.0" encoding="utf-8"?>
<ds:datastoreItem xmlns:ds="http://schemas.openxmlformats.org/officeDocument/2006/customXml" ds:itemID="{B73326DB-5ECB-4AC0-9E50-0E00C638A20E}"/>
</file>

<file path=customXml/itemProps13.xml><?xml version="1.0" encoding="utf-8"?>
<ds:datastoreItem xmlns:ds="http://schemas.openxmlformats.org/officeDocument/2006/customXml" ds:itemID="{ADC02916-9546-4D65-B999-02E55B153D2D}">
  <ds:schemaRefs/>
</ds:datastoreItem>
</file>

<file path=customXml/itemProps14.xml><?xml version="1.0" encoding="utf-8"?>
<ds:datastoreItem xmlns:ds="http://schemas.openxmlformats.org/officeDocument/2006/customXml" ds:itemID="{26B90372-5DAC-458F-BE63-BD0B6101E3B7}">
  <ds:schemaRefs/>
</ds:datastoreItem>
</file>

<file path=customXml/itemProps15.xml><?xml version="1.0" encoding="utf-8"?>
<ds:datastoreItem xmlns:ds="http://schemas.openxmlformats.org/officeDocument/2006/customXml" ds:itemID="{724405AF-B6CC-4E15-AEF5-3CA975D8D693}">
  <ds:schemaRefs/>
</ds:datastoreItem>
</file>

<file path=customXml/itemProps16.xml><?xml version="1.0" encoding="utf-8"?>
<ds:datastoreItem xmlns:ds="http://schemas.openxmlformats.org/officeDocument/2006/customXml" ds:itemID="{C74AA735-B870-42FE-8C9D-6FF1F5098990}">
  <ds:schemaRefs/>
</ds:datastoreItem>
</file>

<file path=customXml/itemProps17.xml><?xml version="1.0" encoding="utf-8"?>
<ds:datastoreItem xmlns:ds="http://schemas.openxmlformats.org/officeDocument/2006/customXml" ds:itemID="{A4151EA0-7D5B-4CE0-8C35-1303CE36D1E9}">
  <ds:schemaRefs/>
</ds:datastoreItem>
</file>

<file path=customXml/itemProps18.xml><?xml version="1.0" encoding="utf-8"?>
<ds:datastoreItem xmlns:ds="http://schemas.openxmlformats.org/officeDocument/2006/customXml" ds:itemID="{712686C5-5FA0-4C86-8354-701DA4BCD16A}">
  <ds:schemaRefs/>
</ds:datastoreItem>
</file>

<file path=customXml/itemProps19.xml><?xml version="1.0" encoding="utf-8"?>
<ds:datastoreItem xmlns:ds="http://schemas.openxmlformats.org/officeDocument/2006/customXml" ds:itemID="{90F90671-016C-4B87-8E5A-F58015CC3600}">
  <ds:schemaRefs/>
</ds:datastoreItem>
</file>

<file path=customXml/itemProps2.xml><?xml version="1.0" encoding="utf-8"?>
<ds:datastoreItem xmlns:ds="http://schemas.openxmlformats.org/officeDocument/2006/customXml" ds:itemID="{31165230-FBFB-41E1-A1D5-B4392E70D2EA}">
  <ds:schemaRefs/>
</ds:datastoreItem>
</file>

<file path=customXml/itemProps20.xml><?xml version="1.0" encoding="utf-8"?>
<ds:datastoreItem xmlns:ds="http://schemas.openxmlformats.org/officeDocument/2006/customXml" ds:itemID="{96C3B170-B654-4F3C-B8A6-D336F9260C01}">
  <ds:schemaRefs/>
</ds:datastoreItem>
</file>

<file path=customXml/itemProps21.xml><?xml version="1.0" encoding="utf-8"?>
<ds:datastoreItem xmlns:ds="http://schemas.openxmlformats.org/officeDocument/2006/customXml" ds:itemID="{F83B06AB-6B37-4081-8790-CF038423F3D8}">
  <ds:schemaRefs/>
</ds:datastoreItem>
</file>

<file path=customXml/itemProps22.xml><?xml version="1.0" encoding="utf-8"?>
<ds:datastoreItem xmlns:ds="http://schemas.openxmlformats.org/officeDocument/2006/customXml" ds:itemID="{C7F4BAF5-ED81-4FC4-8953-4566E4BF27BA}">
  <ds:schemaRefs/>
</ds:datastoreItem>
</file>

<file path=customXml/itemProps23.xml><?xml version="1.0" encoding="utf-8"?>
<ds:datastoreItem xmlns:ds="http://schemas.openxmlformats.org/officeDocument/2006/customXml" ds:itemID="{37AB37FA-58F5-4980-A43D-8B0711217EE2}">
  <ds:schemaRefs/>
</ds:datastoreItem>
</file>

<file path=customXml/itemProps24.xml><?xml version="1.0" encoding="utf-8"?>
<ds:datastoreItem xmlns:ds="http://schemas.openxmlformats.org/officeDocument/2006/customXml" ds:itemID="{DA2D6710-2057-473B-9A3D-CB26B114FA44}">
  <ds:schemaRefs>
    <ds:schemaRef ds:uri="http://schemas.microsoft.com/sharepoint/v3/contenttype/forms"/>
  </ds:schemaRefs>
</ds:datastoreItem>
</file>

<file path=customXml/itemProps25.xml><?xml version="1.0" encoding="utf-8"?>
<ds:datastoreItem xmlns:ds="http://schemas.openxmlformats.org/officeDocument/2006/customXml" ds:itemID="{5108CB81-23A4-4AD1-99B1-CC9A89EC4880}">
  <ds:schemaRefs/>
</ds:datastoreItem>
</file>

<file path=customXml/itemProps26.xml><?xml version="1.0" encoding="utf-8"?>
<ds:datastoreItem xmlns:ds="http://schemas.openxmlformats.org/officeDocument/2006/customXml" ds:itemID="{A4B5F760-528F-4A61-8041-977118B1CC08}">
  <ds:schemaRefs/>
</ds:datastoreItem>
</file>

<file path=customXml/itemProps27.xml><?xml version="1.0" encoding="utf-8"?>
<ds:datastoreItem xmlns:ds="http://schemas.openxmlformats.org/officeDocument/2006/customXml" ds:itemID="{6E140973-3D96-4A92-8EC7-CC6FA41BAD8C}">
  <ds:schemaRefs/>
</ds:datastoreItem>
</file>

<file path=customXml/itemProps28.xml><?xml version="1.0" encoding="utf-8"?>
<ds:datastoreItem xmlns:ds="http://schemas.openxmlformats.org/officeDocument/2006/customXml" ds:itemID="{D71D2D1C-D46C-4075-B720-FC792A8F63B0}">
  <ds:schemaRefs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142aa42-1af1-41a6-85f2-be9d08ee8af9"/>
    <ds:schemaRef ds:uri="4d8d8558-386b-4b7a-9934-ee7da0a43094"/>
    <ds:schemaRef ds:uri="http://schemas.microsoft.com/office/2006/metadata/properties"/>
    <ds:schemaRef ds:uri="http://purl.org/dc/dcmitype/"/>
  </ds:schemaRefs>
</ds:datastoreItem>
</file>

<file path=customXml/itemProps29.xml><?xml version="1.0" encoding="utf-8"?>
<ds:datastoreItem xmlns:ds="http://schemas.openxmlformats.org/officeDocument/2006/customXml" ds:itemID="{F6172B70-2C5B-4FB9-BBA3-F7DD6AF5AF7B}">
  <ds:schemaRefs/>
</ds:datastoreItem>
</file>

<file path=customXml/itemProps3.xml><?xml version="1.0" encoding="utf-8"?>
<ds:datastoreItem xmlns:ds="http://schemas.openxmlformats.org/officeDocument/2006/customXml" ds:itemID="{4C7EEFFE-AD86-4D58-AB74-31D72EAB6BEE}">
  <ds:schemaRefs/>
</ds:datastoreItem>
</file>

<file path=customXml/itemProps30.xml><?xml version="1.0" encoding="utf-8"?>
<ds:datastoreItem xmlns:ds="http://schemas.openxmlformats.org/officeDocument/2006/customXml" ds:itemID="{D302D359-F4FF-426C-A7FE-7F053CEED023}">
  <ds:schemaRefs/>
</ds:datastoreItem>
</file>

<file path=customXml/itemProps31.xml><?xml version="1.0" encoding="utf-8"?>
<ds:datastoreItem xmlns:ds="http://schemas.openxmlformats.org/officeDocument/2006/customXml" ds:itemID="{0C1C16EC-30E9-4B69-B234-F48467A49847}">
  <ds:schemaRefs/>
</ds:datastoreItem>
</file>

<file path=customXml/itemProps32.xml><?xml version="1.0" encoding="utf-8"?>
<ds:datastoreItem xmlns:ds="http://schemas.openxmlformats.org/officeDocument/2006/customXml" ds:itemID="{C3B09D9E-95F8-4462-BE2E-E23217B8E5DF}">
  <ds:schemaRefs/>
</ds:datastoreItem>
</file>

<file path=customXml/itemProps33.xml><?xml version="1.0" encoding="utf-8"?>
<ds:datastoreItem xmlns:ds="http://schemas.openxmlformats.org/officeDocument/2006/customXml" ds:itemID="{0578C42F-8B2B-46CB-A437-EFE611D287BD}">
  <ds:schemaRefs/>
</ds:datastoreItem>
</file>

<file path=customXml/itemProps34.xml><?xml version="1.0" encoding="utf-8"?>
<ds:datastoreItem xmlns:ds="http://schemas.openxmlformats.org/officeDocument/2006/customXml" ds:itemID="{0C34115A-0B87-43D4-AC3C-8C1ACA794FAD}">
  <ds:schemaRefs/>
</ds:datastoreItem>
</file>

<file path=customXml/itemProps35.xml><?xml version="1.0" encoding="utf-8"?>
<ds:datastoreItem xmlns:ds="http://schemas.openxmlformats.org/officeDocument/2006/customXml" ds:itemID="{D676D2B1-189F-4794-BAFF-02798AF09A77}">
  <ds:schemaRefs/>
</ds:datastoreItem>
</file>

<file path=customXml/itemProps36.xml><?xml version="1.0" encoding="utf-8"?>
<ds:datastoreItem xmlns:ds="http://schemas.openxmlformats.org/officeDocument/2006/customXml" ds:itemID="{DEE69849-A78E-4842-AE06-A55464E7FC77}">
  <ds:schemaRefs/>
</ds:datastoreItem>
</file>

<file path=customXml/itemProps37.xml><?xml version="1.0" encoding="utf-8"?>
<ds:datastoreItem xmlns:ds="http://schemas.openxmlformats.org/officeDocument/2006/customXml" ds:itemID="{5B565C1D-3E35-4A07-BD4C-A6A69E9A3680}">
  <ds:schemaRefs/>
</ds:datastoreItem>
</file>

<file path=customXml/itemProps38.xml><?xml version="1.0" encoding="utf-8"?>
<ds:datastoreItem xmlns:ds="http://schemas.openxmlformats.org/officeDocument/2006/customXml" ds:itemID="{43B774F9-99CA-491F-9287-F255F1CE0A89}">
  <ds:schemaRefs/>
</ds:datastoreItem>
</file>

<file path=customXml/itemProps39.xml><?xml version="1.0" encoding="utf-8"?>
<ds:datastoreItem xmlns:ds="http://schemas.openxmlformats.org/officeDocument/2006/customXml" ds:itemID="{0D1BDF59-947F-491F-9297-8D9D69BD5D1D}">
  <ds:schemaRefs/>
</ds:datastoreItem>
</file>

<file path=customXml/itemProps4.xml><?xml version="1.0" encoding="utf-8"?>
<ds:datastoreItem xmlns:ds="http://schemas.openxmlformats.org/officeDocument/2006/customXml" ds:itemID="{CEED497B-890D-4822-B6D6-5371DAA332B3}">
  <ds:schemaRefs/>
</ds:datastoreItem>
</file>

<file path=customXml/itemProps40.xml><?xml version="1.0" encoding="utf-8"?>
<ds:datastoreItem xmlns:ds="http://schemas.openxmlformats.org/officeDocument/2006/customXml" ds:itemID="{ECF0F7BD-72EA-48FA-86B4-6AB2E914C00B}">
  <ds:schemaRefs/>
</ds:datastoreItem>
</file>

<file path=customXml/itemProps41.xml><?xml version="1.0" encoding="utf-8"?>
<ds:datastoreItem xmlns:ds="http://schemas.openxmlformats.org/officeDocument/2006/customXml" ds:itemID="{24043315-D45E-43B6-B587-ECC7CBFC3958}">
  <ds:schemaRefs/>
</ds:datastoreItem>
</file>

<file path=customXml/itemProps42.xml><?xml version="1.0" encoding="utf-8"?>
<ds:datastoreItem xmlns:ds="http://schemas.openxmlformats.org/officeDocument/2006/customXml" ds:itemID="{3F91C2A6-5839-4F67-8C46-8BBE541BA0D8}">
  <ds:schemaRefs/>
</ds:datastoreItem>
</file>

<file path=customXml/itemProps43.xml><?xml version="1.0" encoding="utf-8"?>
<ds:datastoreItem xmlns:ds="http://schemas.openxmlformats.org/officeDocument/2006/customXml" ds:itemID="{DB1E99D0-B0F1-4DF3-8674-4984CDE6A171}">
  <ds:schemaRefs/>
</ds:datastoreItem>
</file>

<file path=customXml/itemProps44.xml><?xml version="1.0" encoding="utf-8"?>
<ds:datastoreItem xmlns:ds="http://schemas.openxmlformats.org/officeDocument/2006/customXml" ds:itemID="{84611C9C-7CBC-4A3A-BA5F-4116373A54AF}">
  <ds:schemaRefs/>
</ds:datastoreItem>
</file>

<file path=customXml/itemProps45.xml><?xml version="1.0" encoding="utf-8"?>
<ds:datastoreItem xmlns:ds="http://schemas.openxmlformats.org/officeDocument/2006/customXml" ds:itemID="{923C7D9D-AC9D-4DDC-BD20-AF2FE755A674}">
  <ds:schemaRefs/>
</ds:datastoreItem>
</file>

<file path=customXml/itemProps46.xml><?xml version="1.0" encoding="utf-8"?>
<ds:datastoreItem xmlns:ds="http://schemas.openxmlformats.org/officeDocument/2006/customXml" ds:itemID="{B5BB9617-2B68-403F-ADB2-011407E22156}">
  <ds:schemaRefs/>
</ds:datastoreItem>
</file>

<file path=customXml/itemProps47.xml><?xml version="1.0" encoding="utf-8"?>
<ds:datastoreItem xmlns:ds="http://schemas.openxmlformats.org/officeDocument/2006/customXml" ds:itemID="{C96A8206-6776-4E90-A65A-B25FE9A794F2}">
  <ds:schemaRefs/>
</ds:datastoreItem>
</file>

<file path=customXml/itemProps5.xml><?xml version="1.0" encoding="utf-8"?>
<ds:datastoreItem xmlns:ds="http://schemas.openxmlformats.org/officeDocument/2006/customXml" ds:itemID="{F7BCD8C6-13D6-4532-82D5-824070DEE7B8}">
  <ds:schemaRefs/>
</ds:datastoreItem>
</file>

<file path=customXml/itemProps6.xml><?xml version="1.0" encoding="utf-8"?>
<ds:datastoreItem xmlns:ds="http://schemas.openxmlformats.org/officeDocument/2006/customXml" ds:itemID="{682D3B19-B284-42AB-9152-565EAB830932}">
  <ds:schemaRefs/>
</ds:datastoreItem>
</file>

<file path=customXml/itemProps7.xml><?xml version="1.0" encoding="utf-8"?>
<ds:datastoreItem xmlns:ds="http://schemas.openxmlformats.org/officeDocument/2006/customXml" ds:itemID="{761A0A0F-3255-4DC8-AC99-DED9F583F6E6}">
  <ds:schemaRefs/>
</ds:datastoreItem>
</file>

<file path=customXml/itemProps8.xml><?xml version="1.0" encoding="utf-8"?>
<ds:datastoreItem xmlns:ds="http://schemas.openxmlformats.org/officeDocument/2006/customXml" ds:itemID="{B09730E0-266A-4663-9680-B649D8EB3656}">
  <ds:schemaRefs/>
</ds:datastoreItem>
</file>

<file path=customXml/itemProps9.xml><?xml version="1.0" encoding="utf-8"?>
<ds:datastoreItem xmlns:ds="http://schemas.openxmlformats.org/officeDocument/2006/customXml" ds:itemID="{4E762DAA-68BE-44CD-BFAA-3E5A121D09B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994</TotalTime>
  <Words>379</Words>
  <Application>Microsoft Office PowerPoint</Application>
  <PresentationFormat>Widescreen</PresentationFormat>
  <Paragraphs>113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mbria</vt:lpstr>
      <vt:lpstr>Symbol</vt:lpstr>
      <vt:lpstr>Blank</vt:lpstr>
      <vt:lpstr>think-cell Slide</vt:lpstr>
      <vt:lpstr>PowerPoint Presentation</vt:lpstr>
      <vt:lpstr>Introduction and Agenda </vt:lpstr>
      <vt:lpstr>Netherlands and Denmark have many shared interests and challenges</vt:lpstr>
      <vt:lpstr>What are the outcomes of a succesful collaboration?</vt:lpstr>
      <vt:lpstr>Opening the green black box</vt:lpstr>
      <vt:lpstr>Organizational differences to overcome</vt:lpstr>
      <vt:lpstr>Project Timeline</vt:lpstr>
      <vt:lpstr>Examples of activities during exchanges</vt:lpstr>
      <vt:lpstr>Paving the way for a successful green collaboration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M</dc:creator>
  <cp:lastModifiedBy>GALLEGO GALAN Sandra (REFORM)</cp:lastModifiedBy>
  <cp:revision>223</cp:revision>
  <cp:lastPrinted>2023-12-13T12:53:24Z</cp:lastPrinted>
  <dcterms:created xsi:type="dcterms:W3CDTF">2020-11-03T12:03:50Z</dcterms:created>
  <dcterms:modified xsi:type="dcterms:W3CDTF">2024-01-17T18:3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com</vt:lpwstr>
  </property>
  <property fmtid="{D5CDD505-2E9C-101B-9397-08002B2CF9AE}" pid="3" name="TemplafyTimeStamp">
    <vt:lpwstr>2023-01-05T11:32:46.5487020Z</vt:lpwstr>
  </property>
  <property fmtid="{D5CDD505-2E9C-101B-9397-08002B2CF9AE}" pid="4" name="DocumentInfoFinished">
    <vt:lpwstr>True</vt:lpwstr>
  </property>
  <property fmtid="{D5CDD505-2E9C-101B-9397-08002B2CF9AE}" pid="5" name="TemplafyAreasToUpdate">
    <vt:lpwstr>All</vt:lpwstr>
  </property>
  <property fmtid="{D5CDD505-2E9C-101B-9397-08002B2CF9AE}" pid="6" name="TemplafyNavigationPath">
    <vt:lpwstr>presentations/_generel-praesentation</vt:lpwstr>
  </property>
  <property fmtid="{D5CDD505-2E9C-101B-9397-08002B2CF9AE}" pid="7" name="TemplafyTenantId">
    <vt:lpwstr>finansministeriet</vt:lpwstr>
  </property>
  <property fmtid="{D5CDD505-2E9C-101B-9397-08002B2CF9AE}" pid="8" name="TemplafyTemplateId">
    <vt:lpwstr>638355537486178014</vt:lpwstr>
  </property>
  <property fmtid="{D5CDD505-2E9C-101B-9397-08002B2CF9AE}" pid="9" name="TemplafyUserProfileId">
    <vt:lpwstr>638108500086864660</vt:lpwstr>
  </property>
  <property fmtid="{D5CDD505-2E9C-101B-9397-08002B2CF9AE}" pid="10" name="TemplafyLanguageCode">
    <vt:lpwstr>en-GB</vt:lpwstr>
  </property>
  <property fmtid="{D5CDD505-2E9C-101B-9397-08002B2CF9AE}" pid="11" name="ContentTypeId">
    <vt:lpwstr>0x010100A03A3E93BFF5E64B81FD2752BF1BECD6</vt:lpwstr>
  </property>
  <property fmtid="{D5CDD505-2E9C-101B-9397-08002B2CF9AE}" pid="12" name="MSIP_Label_6bd9ddd1-4d20-43f6-abfa-fc3c07406f94_Enabled">
    <vt:lpwstr>true</vt:lpwstr>
  </property>
  <property fmtid="{D5CDD505-2E9C-101B-9397-08002B2CF9AE}" pid="13" name="MSIP_Label_6bd9ddd1-4d20-43f6-abfa-fc3c07406f94_SetDate">
    <vt:lpwstr>2024-01-17T18:39:21Z</vt:lpwstr>
  </property>
  <property fmtid="{D5CDD505-2E9C-101B-9397-08002B2CF9AE}" pid="14" name="MSIP_Label_6bd9ddd1-4d20-43f6-abfa-fc3c07406f94_Method">
    <vt:lpwstr>Standard</vt:lpwstr>
  </property>
  <property fmtid="{D5CDD505-2E9C-101B-9397-08002B2CF9AE}" pid="15" name="MSIP_Label_6bd9ddd1-4d20-43f6-abfa-fc3c07406f94_Name">
    <vt:lpwstr>Commission Use</vt:lpwstr>
  </property>
  <property fmtid="{D5CDD505-2E9C-101B-9397-08002B2CF9AE}" pid="16" name="MSIP_Label_6bd9ddd1-4d20-43f6-abfa-fc3c07406f94_SiteId">
    <vt:lpwstr>b24c8b06-522c-46fe-9080-70926f8dddb1</vt:lpwstr>
  </property>
  <property fmtid="{D5CDD505-2E9C-101B-9397-08002B2CF9AE}" pid="17" name="MSIP_Label_6bd9ddd1-4d20-43f6-abfa-fc3c07406f94_ActionId">
    <vt:lpwstr>7e227b2d-7d4e-48d6-b320-32203e82b01b</vt:lpwstr>
  </property>
  <property fmtid="{D5CDD505-2E9C-101B-9397-08002B2CF9AE}" pid="18" name="MSIP_Label_6bd9ddd1-4d20-43f6-abfa-fc3c07406f94_ContentBits">
    <vt:lpwstr>0</vt:lpwstr>
  </property>
  <property fmtid="{D5CDD505-2E9C-101B-9397-08002B2CF9AE}" pid="19" name="MediaServiceImageTags">
    <vt:lpwstr/>
  </property>
</Properties>
</file>